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97" r:id="rId5"/>
    <p:sldId id="317" r:id="rId6"/>
    <p:sldId id="316" r:id="rId7"/>
    <p:sldId id="321" r:id="rId8"/>
    <p:sldId id="322" r:id="rId9"/>
    <p:sldId id="315" r:id="rId10"/>
    <p:sldId id="318" r:id="rId11"/>
    <p:sldId id="323" r:id="rId12"/>
  </p:sldIdLst>
  <p:sldSz cx="12192000" cy="6858000"/>
  <p:notesSz cx="6858000" cy="9144000"/>
  <p:custDataLst>
    <p:tags r:id="rId14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dzinová Mária" initials="MM" lastIdx="1" clrIdx="0">
    <p:extLst>
      <p:ext uri="{19B8F6BF-5375-455C-9EA6-DF929625EA0E}">
        <p15:presenceInfo xmlns:p15="http://schemas.microsoft.com/office/powerpoint/2012/main" userId="Mardzinová Mária" providerId="None"/>
      </p:ext>
    </p:extLst>
  </p:cmAuthor>
  <p:cmAuthor id="2" name="Filip Mardzin" initials="FM" lastIdx="2" clrIdx="1">
    <p:extLst>
      <p:ext uri="{19B8F6BF-5375-455C-9EA6-DF929625EA0E}">
        <p15:presenceInfo xmlns:p15="http://schemas.microsoft.com/office/powerpoint/2012/main" userId="Filip Mardzin" providerId="None"/>
      </p:ext>
    </p:extLst>
  </p:cmAuthor>
  <p:cmAuthor id="3" name="Mario Matuschek" initials="MM" lastIdx="1" clrIdx="2">
    <p:extLst>
      <p:ext uri="{19B8F6BF-5375-455C-9EA6-DF929625EA0E}">
        <p15:presenceInfo xmlns:p15="http://schemas.microsoft.com/office/powerpoint/2012/main" userId="Mario Matusche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91DA"/>
    <a:srgbClr val="1F487C"/>
    <a:srgbClr val="E6E6E6"/>
    <a:srgbClr val="99CCFF"/>
    <a:srgbClr val="BD5B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CA6875-5FA4-4BAF-BDBE-F5197642BB80}" v="116" vWet="117" dt="2021-11-18T22:02:44.088"/>
    <p1510:client id="{E9BA9982-92CA-4348-A992-1EB4452594CD}" v="984" dt="2021-11-18T22:16:31.8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96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vente Letenyei" userId="e3f991d9504529cc" providerId="LiveId" clId="{E9BA9982-92CA-4348-A992-1EB4452594CD}"/>
    <pc:docChg chg="undo redo custSel addSld delSld modSld sldOrd">
      <pc:chgData name="Levente Letenyei" userId="e3f991d9504529cc" providerId="LiveId" clId="{E9BA9982-92CA-4348-A992-1EB4452594CD}" dt="2021-11-18T22:16:31.828" v="2668" actId="1076"/>
      <pc:docMkLst>
        <pc:docMk/>
      </pc:docMkLst>
      <pc:sldChg chg="del">
        <pc:chgData name="Levente Letenyei" userId="e3f991d9504529cc" providerId="LiveId" clId="{E9BA9982-92CA-4348-A992-1EB4452594CD}" dt="2021-11-10T15:48:56.973" v="558" actId="47"/>
        <pc:sldMkLst>
          <pc:docMk/>
          <pc:sldMk cId="783203993" sldId="286"/>
        </pc:sldMkLst>
      </pc:sldChg>
      <pc:sldChg chg="addSp delSp modSp mod delAnim">
        <pc:chgData name="Levente Letenyei" userId="e3f991d9504529cc" providerId="LiveId" clId="{E9BA9982-92CA-4348-A992-1EB4452594CD}" dt="2021-11-10T14:59:26.459" v="43" actId="732"/>
        <pc:sldMkLst>
          <pc:docMk/>
          <pc:sldMk cId="3854857248" sldId="297"/>
        </pc:sldMkLst>
        <pc:spChg chg="mod">
          <ac:chgData name="Levente Letenyei" userId="e3f991d9504529cc" providerId="LiveId" clId="{E9BA9982-92CA-4348-A992-1EB4452594CD}" dt="2021-11-10T14:56:53.806" v="31" actId="255"/>
          <ac:spMkLst>
            <pc:docMk/>
            <pc:sldMk cId="3854857248" sldId="297"/>
            <ac:spMk id="8" creationId="{6A3109CD-8967-4658-95D8-B6D5098E0678}"/>
          </ac:spMkLst>
        </pc:spChg>
        <pc:picChg chg="del">
          <ac:chgData name="Levente Letenyei" userId="e3f991d9504529cc" providerId="LiveId" clId="{E9BA9982-92CA-4348-A992-1EB4452594CD}" dt="2021-11-10T14:56:56.881" v="32" actId="478"/>
          <ac:picMkLst>
            <pc:docMk/>
            <pc:sldMk cId="3854857248" sldId="297"/>
            <ac:picMk id="2" creationId="{00000000-0000-0000-0000-000000000000}"/>
          </ac:picMkLst>
        </pc:picChg>
        <pc:picChg chg="del">
          <ac:chgData name="Levente Letenyei" userId="e3f991d9504529cc" providerId="LiveId" clId="{E9BA9982-92CA-4348-A992-1EB4452594CD}" dt="2021-11-10T14:56:10.312" v="6" actId="478"/>
          <ac:picMkLst>
            <pc:docMk/>
            <pc:sldMk cId="3854857248" sldId="297"/>
            <ac:picMk id="6" creationId="{D4C63453-77FF-4209-A9C4-76462016AAAC}"/>
          </ac:picMkLst>
        </pc:picChg>
        <pc:picChg chg="add del mod">
          <ac:chgData name="Levente Letenyei" userId="e3f991d9504529cc" providerId="LiveId" clId="{E9BA9982-92CA-4348-A992-1EB4452594CD}" dt="2021-11-10T14:57:34.143" v="37" actId="478"/>
          <ac:picMkLst>
            <pc:docMk/>
            <pc:sldMk cId="3854857248" sldId="297"/>
            <ac:picMk id="1026" creationId="{E3F326C0-45D7-457F-B38D-F2594D8DA64B}"/>
          </ac:picMkLst>
        </pc:picChg>
        <pc:picChg chg="add mod">
          <ac:chgData name="Levente Letenyei" userId="e3f991d9504529cc" providerId="LiveId" clId="{E9BA9982-92CA-4348-A992-1EB4452594CD}" dt="2021-11-10T14:59:26.459" v="43" actId="732"/>
          <ac:picMkLst>
            <pc:docMk/>
            <pc:sldMk cId="3854857248" sldId="297"/>
            <ac:picMk id="1028" creationId="{459C65CD-63A1-454F-933D-506375230C29}"/>
          </ac:picMkLst>
        </pc:picChg>
      </pc:sldChg>
      <pc:sldChg chg="del">
        <pc:chgData name="Levente Letenyei" userId="e3f991d9504529cc" providerId="LiveId" clId="{E9BA9982-92CA-4348-A992-1EB4452594CD}" dt="2021-11-10T15:48:57.435" v="559" actId="47"/>
        <pc:sldMkLst>
          <pc:docMk/>
          <pc:sldMk cId="2366246054" sldId="314"/>
        </pc:sldMkLst>
      </pc:sldChg>
      <pc:sldChg chg="addSp delSp modSp mod delAnim">
        <pc:chgData name="Levente Letenyei" userId="e3f991d9504529cc" providerId="LiveId" clId="{E9BA9982-92CA-4348-A992-1EB4452594CD}" dt="2021-11-18T22:14:41.831" v="2659" actId="1076"/>
        <pc:sldMkLst>
          <pc:docMk/>
          <pc:sldMk cId="784159553" sldId="315"/>
        </pc:sldMkLst>
        <pc:spChg chg="mod">
          <ac:chgData name="Levente Letenyei" userId="e3f991d9504529cc" providerId="LiveId" clId="{E9BA9982-92CA-4348-A992-1EB4452594CD}" dt="2021-11-10T15:26:00.360" v="56" actId="20577"/>
          <ac:spMkLst>
            <pc:docMk/>
            <pc:sldMk cId="784159553" sldId="315"/>
            <ac:spMk id="8" creationId="{A0399ABC-8759-42EE-9EE6-4FAD98B67A53}"/>
          </ac:spMkLst>
        </pc:spChg>
        <pc:spChg chg="add mod">
          <ac:chgData name="Levente Letenyei" userId="e3f991d9504529cc" providerId="LiveId" clId="{E9BA9982-92CA-4348-A992-1EB4452594CD}" dt="2021-11-12T08:38:32.407" v="1180" actId="20577"/>
          <ac:spMkLst>
            <pc:docMk/>
            <pc:sldMk cId="784159553" sldId="315"/>
            <ac:spMk id="9" creationId="{5846B8F1-6A77-4EA6-AA43-4CFE7DC6492F}"/>
          </ac:spMkLst>
        </pc:spChg>
        <pc:spChg chg="del">
          <ac:chgData name="Levente Letenyei" userId="e3f991d9504529cc" providerId="LiveId" clId="{E9BA9982-92CA-4348-A992-1EB4452594CD}" dt="2021-11-10T15:27:39.420" v="106" actId="478"/>
          <ac:spMkLst>
            <pc:docMk/>
            <pc:sldMk cId="784159553" sldId="315"/>
            <ac:spMk id="11" creationId="{97542C87-4F8D-4DF9-96D3-0841B5466DC1}"/>
          </ac:spMkLst>
        </pc:spChg>
        <pc:spChg chg="mod">
          <ac:chgData name="Levente Letenyei" userId="e3f991d9504529cc" providerId="LiveId" clId="{E9BA9982-92CA-4348-A992-1EB4452594CD}" dt="2021-11-11T10:29:21.514" v="660" actId="20577"/>
          <ac:spMkLst>
            <pc:docMk/>
            <pc:sldMk cId="784159553" sldId="315"/>
            <ac:spMk id="12" creationId="{83DEE3F5-E503-4E30-83A6-F881CD7B45F0}"/>
          </ac:spMkLst>
        </pc:spChg>
        <pc:spChg chg="add mod">
          <ac:chgData name="Levente Letenyei" userId="e3f991d9504529cc" providerId="LiveId" clId="{E9BA9982-92CA-4348-A992-1EB4452594CD}" dt="2021-11-18T22:12:39.949" v="2651" actId="108"/>
          <ac:spMkLst>
            <pc:docMk/>
            <pc:sldMk cId="784159553" sldId="315"/>
            <ac:spMk id="14" creationId="{B1B3F4F9-C2D1-41D4-8D37-6090C9C64CBC}"/>
          </ac:spMkLst>
        </pc:spChg>
        <pc:spChg chg="del">
          <ac:chgData name="Levente Letenyei" userId="e3f991d9504529cc" providerId="LiveId" clId="{E9BA9982-92CA-4348-A992-1EB4452594CD}" dt="2021-11-10T15:27:42.290" v="107" actId="478"/>
          <ac:spMkLst>
            <pc:docMk/>
            <pc:sldMk cId="784159553" sldId="315"/>
            <ac:spMk id="14" creationId="{F0384773-73DD-4457-8A93-229D19FA96D0}"/>
          </ac:spMkLst>
        </pc:spChg>
        <pc:spChg chg="mod">
          <ac:chgData name="Levente Letenyei" userId="e3f991d9504529cc" providerId="LiveId" clId="{E9BA9982-92CA-4348-A992-1EB4452594CD}" dt="2021-11-11T10:29:53.996" v="689" actId="20577"/>
          <ac:spMkLst>
            <pc:docMk/>
            <pc:sldMk cId="784159553" sldId="315"/>
            <ac:spMk id="16" creationId="{97CCD77D-6E23-4F9C-83E5-E582C1BECC8C}"/>
          </ac:spMkLst>
        </pc:spChg>
        <pc:spChg chg="add del mod">
          <ac:chgData name="Levente Letenyei" userId="e3f991d9504529cc" providerId="LiveId" clId="{E9BA9982-92CA-4348-A992-1EB4452594CD}" dt="2021-11-11T10:19:05.694" v="613" actId="478"/>
          <ac:spMkLst>
            <pc:docMk/>
            <pc:sldMk cId="784159553" sldId="315"/>
            <ac:spMk id="29" creationId="{617536D1-E512-4F85-9347-D07A2AE7CEED}"/>
          </ac:spMkLst>
        </pc:spChg>
        <pc:grpChg chg="del">
          <ac:chgData name="Levente Letenyei" userId="e3f991d9504529cc" providerId="LiveId" clId="{E9BA9982-92CA-4348-A992-1EB4452594CD}" dt="2021-11-10T15:27:47.975" v="109" actId="478"/>
          <ac:grpSpMkLst>
            <pc:docMk/>
            <pc:sldMk cId="784159553" sldId="315"/>
            <ac:grpSpMk id="10" creationId="{FD11FCD5-6427-4621-8142-86A5039E1B22}"/>
          </ac:grpSpMkLst>
        </pc:grpChg>
        <pc:graphicFrameChg chg="add del mod">
          <ac:chgData name="Levente Letenyei" userId="e3f991d9504529cc" providerId="LiveId" clId="{E9BA9982-92CA-4348-A992-1EB4452594CD}" dt="2021-11-10T15:34:16.293" v="354"/>
          <ac:graphicFrameMkLst>
            <pc:docMk/>
            <pc:sldMk cId="784159553" sldId="315"/>
            <ac:graphicFrameMk id="30" creationId="{AC9EC48A-4940-4620-BD9D-6BA86EA6A054}"/>
          </ac:graphicFrameMkLst>
        </pc:graphicFrameChg>
        <pc:picChg chg="mod">
          <ac:chgData name="Levente Letenyei" userId="e3f991d9504529cc" providerId="LiveId" clId="{E9BA9982-92CA-4348-A992-1EB4452594CD}" dt="2021-11-18T21:53:37.368" v="2129" actId="1076"/>
          <ac:picMkLst>
            <pc:docMk/>
            <pc:sldMk cId="784159553" sldId="315"/>
            <ac:picMk id="3" creationId="{35B7258A-292C-4D5D-86B9-D38B7B2A6CB9}"/>
          </ac:picMkLst>
        </pc:picChg>
        <pc:picChg chg="del mod ord">
          <ac:chgData name="Levente Letenyei" userId="e3f991d9504529cc" providerId="LiveId" clId="{E9BA9982-92CA-4348-A992-1EB4452594CD}" dt="2021-11-18T22:14:24.466" v="2653" actId="478"/>
          <ac:picMkLst>
            <pc:docMk/>
            <pc:sldMk cId="784159553" sldId="315"/>
            <ac:picMk id="4" creationId="{65429E9F-CE74-4E8A-B0A5-A58721DBB984}"/>
          </ac:picMkLst>
        </pc:picChg>
        <pc:picChg chg="mod">
          <ac:chgData name="Levente Letenyei" userId="e3f991d9504529cc" providerId="LiveId" clId="{E9BA9982-92CA-4348-A992-1EB4452594CD}" dt="2021-11-18T21:52:02.160" v="2119" actId="1076"/>
          <ac:picMkLst>
            <pc:docMk/>
            <pc:sldMk cId="784159553" sldId="315"/>
            <ac:picMk id="5" creationId="{1D8EE4B7-3CF9-4117-9123-F32AE4F64EDF}"/>
          </ac:picMkLst>
        </pc:picChg>
        <pc:picChg chg="add mod ord">
          <ac:chgData name="Levente Letenyei" userId="e3f991d9504529cc" providerId="LiveId" clId="{E9BA9982-92CA-4348-A992-1EB4452594CD}" dt="2021-11-18T22:14:41.831" v="2659" actId="1076"/>
          <ac:picMkLst>
            <pc:docMk/>
            <pc:sldMk cId="784159553" sldId="315"/>
            <ac:picMk id="9" creationId="{E1FA2329-DD1C-4786-A8A5-75828A3D91B8}"/>
          </ac:picMkLst>
        </pc:picChg>
        <pc:picChg chg="del">
          <ac:chgData name="Levente Letenyei" userId="e3f991d9504529cc" providerId="LiveId" clId="{E9BA9982-92CA-4348-A992-1EB4452594CD}" dt="2021-11-10T15:27:45.232" v="108" actId="478"/>
          <ac:picMkLst>
            <pc:docMk/>
            <pc:sldMk cId="784159553" sldId="315"/>
            <ac:picMk id="27" creationId="{86B53445-66B6-9748-A494-811F418D1F3B}"/>
          </ac:picMkLst>
        </pc:picChg>
        <pc:picChg chg="add del mod">
          <ac:chgData name="Levente Letenyei" userId="e3f991d9504529cc" providerId="LiveId" clId="{E9BA9982-92CA-4348-A992-1EB4452594CD}" dt="2021-11-10T15:51:53.866" v="611" actId="478"/>
          <ac:picMkLst>
            <pc:docMk/>
            <pc:sldMk cId="784159553" sldId="315"/>
            <ac:picMk id="31" creationId="{FD182838-E982-4ACB-862A-AD5BEB06E565}"/>
          </ac:picMkLst>
        </pc:picChg>
        <pc:picChg chg="add mod">
          <ac:chgData name="Levente Letenyei" userId="e3f991d9504529cc" providerId="LiveId" clId="{E9BA9982-92CA-4348-A992-1EB4452594CD}" dt="2021-11-11T10:33:28.601" v="924" actId="1076"/>
          <ac:picMkLst>
            <pc:docMk/>
            <pc:sldMk cId="784159553" sldId="315"/>
            <ac:picMk id="1026" creationId="{A8205957-36F1-4B1B-A45D-9ED7CE3FBF49}"/>
          </ac:picMkLst>
        </pc:picChg>
        <pc:picChg chg="add mod">
          <ac:chgData name="Levente Letenyei" userId="e3f991d9504529cc" providerId="LiveId" clId="{E9BA9982-92CA-4348-A992-1EB4452594CD}" dt="2021-11-11T10:34:00.787" v="929" actId="1076"/>
          <ac:picMkLst>
            <pc:docMk/>
            <pc:sldMk cId="784159553" sldId="315"/>
            <ac:picMk id="1028" creationId="{7CC0903C-C506-49A1-8C9D-C37CE292231E}"/>
          </ac:picMkLst>
        </pc:picChg>
        <pc:picChg chg="add del mod">
          <ac:chgData name="Levente Letenyei" userId="e3f991d9504529cc" providerId="LiveId" clId="{E9BA9982-92CA-4348-A992-1EB4452594CD}" dt="2021-11-10T15:51:51.255" v="610" actId="478"/>
          <ac:picMkLst>
            <pc:docMk/>
            <pc:sldMk cId="784159553" sldId="315"/>
            <ac:picMk id="2050" creationId="{07571DF0-E5D1-4A03-9492-689BBA862920}"/>
          </ac:picMkLst>
        </pc:picChg>
      </pc:sldChg>
      <pc:sldChg chg="del">
        <pc:chgData name="Levente Letenyei" userId="e3f991d9504529cc" providerId="LiveId" clId="{E9BA9982-92CA-4348-A992-1EB4452594CD}" dt="2021-11-10T15:49:00.548" v="568" actId="47"/>
        <pc:sldMkLst>
          <pc:docMk/>
          <pc:sldMk cId="3197135561" sldId="316"/>
        </pc:sldMkLst>
      </pc:sldChg>
      <pc:sldChg chg="addSp delSp modSp add mod ord">
        <pc:chgData name="Levente Letenyei" userId="e3f991d9504529cc" providerId="LiveId" clId="{E9BA9982-92CA-4348-A992-1EB4452594CD}" dt="2021-11-18T21:53:15.394" v="2124" actId="1076"/>
        <pc:sldMkLst>
          <pc:docMk/>
          <pc:sldMk cId="3460968719" sldId="316"/>
        </pc:sldMkLst>
        <pc:spChg chg="add del mod">
          <ac:chgData name="Levente Letenyei" userId="e3f991d9504529cc" providerId="LiveId" clId="{E9BA9982-92CA-4348-A992-1EB4452594CD}" dt="2021-11-18T05:14:18.530" v="1485" actId="478"/>
          <ac:spMkLst>
            <pc:docMk/>
            <pc:sldMk cId="3460968719" sldId="316"/>
            <ac:spMk id="2" creationId="{5358CE8D-A23B-4115-961E-5B4CA0722EB1}"/>
          </ac:spMkLst>
        </pc:spChg>
        <pc:spChg chg="mod">
          <ac:chgData name="Levente Letenyei" userId="e3f991d9504529cc" providerId="LiveId" clId="{E9BA9982-92CA-4348-A992-1EB4452594CD}" dt="2021-11-18T05:14:02.724" v="1481" actId="20577"/>
          <ac:spMkLst>
            <pc:docMk/>
            <pc:sldMk cId="3460968719" sldId="316"/>
            <ac:spMk id="12" creationId="{83DEE3F5-E503-4E30-83A6-F881CD7B45F0}"/>
          </ac:spMkLst>
        </pc:spChg>
        <pc:spChg chg="add mod">
          <ac:chgData name="Levente Letenyei" userId="e3f991d9504529cc" providerId="LiveId" clId="{E9BA9982-92CA-4348-A992-1EB4452594CD}" dt="2021-11-18T21:36:08.036" v="1956" actId="14100"/>
          <ac:spMkLst>
            <pc:docMk/>
            <pc:sldMk cId="3460968719" sldId="316"/>
            <ac:spMk id="14" creationId="{7D3836EB-D7B8-4F82-9F52-F705E7798237}"/>
          </ac:spMkLst>
        </pc:spChg>
        <pc:spChg chg="mod">
          <ac:chgData name="Levente Letenyei" userId="e3f991d9504529cc" providerId="LiveId" clId="{E9BA9982-92CA-4348-A992-1EB4452594CD}" dt="2021-11-18T21:36:49.392" v="1973" actId="20577"/>
          <ac:spMkLst>
            <pc:docMk/>
            <pc:sldMk cId="3460968719" sldId="316"/>
            <ac:spMk id="16" creationId="{97CCD77D-6E23-4F9C-83E5-E582C1BECC8C}"/>
          </ac:spMkLst>
        </pc:spChg>
        <pc:spChg chg="del mod">
          <ac:chgData name="Levente Letenyei" userId="e3f991d9504529cc" providerId="LiveId" clId="{E9BA9982-92CA-4348-A992-1EB4452594CD}" dt="2021-11-18T05:14:06.188" v="1482" actId="478"/>
          <ac:spMkLst>
            <pc:docMk/>
            <pc:sldMk cId="3460968719" sldId="316"/>
            <ac:spMk id="29" creationId="{617536D1-E512-4F85-9347-D07A2AE7CEED}"/>
          </ac:spMkLst>
        </pc:spChg>
        <pc:picChg chg="add mod">
          <ac:chgData name="Levente Letenyei" userId="e3f991d9504529cc" providerId="LiveId" clId="{E9BA9982-92CA-4348-A992-1EB4452594CD}" dt="2021-11-18T21:53:15.394" v="2124" actId="1076"/>
          <ac:picMkLst>
            <pc:docMk/>
            <pc:sldMk cId="3460968719" sldId="316"/>
            <ac:picMk id="11" creationId="{22C0B8D3-4EB1-49EC-8BC0-164AB6AE9F53}"/>
          </ac:picMkLst>
        </pc:picChg>
        <pc:picChg chg="del">
          <ac:chgData name="Levente Letenyei" userId="e3f991d9504529cc" providerId="LiveId" clId="{E9BA9982-92CA-4348-A992-1EB4452594CD}" dt="2021-11-18T05:14:10.849" v="1484" actId="478"/>
          <ac:picMkLst>
            <pc:docMk/>
            <pc:sldMk cId="3460968719" sldId="316"/>
            <ac:picMk id="31" creationId="{FD182838-E982-4ACB-862A-AD5BEB06E565}"/>
          </ac:picMkLst>
        </pc:picChg>
        <pc:picChg chg="del">
          <ac:chgData name="Levente Letenyei" userId="e3f991d9504529cc" providerId="LiveId" clId="{E9BA9982-92CA-4348-A992-1EB4452594CD}" dt="2021-11-18T05:14:08.548" v="1483" actId="478"/>
          <ac:picMkLst>
            <pc:docMk/>
            <pc:sldMk cId="3460968719" sldId="316"/>
            <ac:picMk id="2050" creationId="{07571DF0-E5D1-4A03-9492-689BBA862920}"/>
          </ac:picMkLst>
        </pc:picChg>
        <pc:picChg chg="add mod">
          <ac:chgData name="Levente Letenyei" userId="e3f991d9504529cc" providerId="LiveId" clId="{E9BA9982-92CA-4348-A992-1EB4452594CD}" dt="2021-11-18T21:45:44.015" v="2001" actId="1076"/>
          <ac:picMkLst>
            <pc:docMk/>
            <pc:sldMk cId="3460968719" sldId="316"/>
            <ac:picMk id="3074" creationId="{F54C4AF4-686F-4876-AB11-8CBC69DC791F}"/>
          </ac:picMkLst>
        </pc:picChg>
      </pc:sldChg>
      <pc:sldChg chg="del">
        <pc:chgData name="Levente Letenyei" userId="e3f991d9504529cc" providerId="LiveId" clId="{E9BA9982-92CA-4348-A992-1EB4452594CD}" dt="2021-11-10T15:49:00.917" v="569" actId="47"/>
        <pc:sldMkLst>
          <pc:docMk/>
          <pc:sldMk cId="132061092" sldId="317"/>
        </pc:sldMkLst>
      </pc:sldChg>
      <pc:sldChg chg="addSp delSp modSp add mod ord">
        <pc:chgData name="Levente Letenyei" userId="e3f991d9504529cc" providerId="LiveId" clId="{E9BA9982-92CA-4348-A992-1EB4452594CD}" dt="2021-11-18T22:04:40.766" v="2543" actId="1076"/>
        <pc:sldMkLst>
          <pc:docMk/>
          <pc:sldMk cId="1302202793" sldId="317"/>
        </pc:sldMkLst>
        <pc:spChg chg="add mod">
          <ac:chgData name="Levente Letenyei" userId="e3f991d9504529cc" providerId="LiveId" clId="{E9BA9982-92CA-4348-A992-1EB4452594CD}" dt="2021-11-18T22:04:20.174" v="2538" actId="108"/>
          <ac:spMkLst>
            <pc:docMk/>
            <pc:sldMk cId="1302202793" sldId="317"/>
            <ac:spMk id="10" creationId="{F2D90FCB-7416-4BB8-BD06-713ADB1C72AE}"/>
          </ac:spMkLst>
        </pc:spChg>
        <pc:spChg chg="mod">
          <ac:chgData name="Levente Letenyei" userId="e3f991d9504529cc" providerId="LiveId" clId="{E9BA9982-92CA-4348-A992-1EB4452594CD}" dt="2021-11-18T22:00:44.198" v="2371" actId="20577"/>
          <ac:spMkLst>
            <pc:docMk/>
            <pc:sldMk cId="1302202793" sldId="317"/>
            <ac:spMk id="12" creationId="{83DEE3F5-E503-4E30-83A6-F881CD7B45F0}"/>
          </ac:spMkLst>
        </pc:spChg>
        <pc:spChg chg="mod">
          <ac:chgData name="Levente Letenyei" userId="e3f991d9504529cc" providerId="LiveId" clId="{E9BA9982-92CA-4348-A992-1EB4452594CD}" dt="2021-11-18T22:01:54.504" v="2381" actId="20577"/>
          <ac:spMkLst>
            <pc:docMk/>
            <pc:sldMk cId="1302202793" sldId="317"/>
            <ac:spMk id="16" creationId="{97CCD77D-6E23-4F9C-83E5-E582C1BECC8C}"/>
          </ac:spMkLst>
        </pc:spChg>
        <pc:spChg chg="del">
          <ac:chgData name="Levente Letenyei" userId="e3f991d9504529cc" providerId="LiveId" clId="{E9BA9982-92CA-4348-A992-1EB4452594CD}" dt="2021-11-11T10:19:08.415" v="614" actId="478"/>
          <ac:spMkLst>
            <pc:docMk/>
            <pc:sldMk cId="1302202793" sldId="317"/>
            <ac:spMk id="29" creationId="{617536D1-E512-4F85-9347-D07A2AE7CEED}"/>
          </ac:spMkLst>
        </pc:spChg>
        <pc:picChg chg="add del">
          <ac:chgData name="Levente Letenyei" userId="e3f991d9504529cc" providerId="LiveId" clId="{E9BA9982-92CA-4348-A992-1EB4452594CD}" dt="2021-11-11T10:57:29.177" v="1019" actId="478"/>
          <ac:picMkLst>
            <pc:docMk/>
            <pc:sldMk cId="1302202793" sldId="317"/>
            <ac:picMk id="2" creationId="{83B9F36C-67E2-477E-9D6D-7E45C1ED187D}"/>
          </ac:picMkLst>
        </pc:picChg>
        <pc:picChg chg="add mod">
          <ac:chgData name="Levente Letenyei" userId="e3f991d9504529cc" providerId="LiveId" clId="{E9BA9982-92CA-4348-A992-1EB4452594CD}" dt="2021-11-18T22:04:23.696" v="2539" actId="1076"/>
          <ac:picMkLst>
            <pc:docMk/>
            <pc:sldMk cId="1302202793" sldId="317"/>
            <ac:picMk id="14" creationId="{D857AAEB-71E6-43BC-88A4-4CB392312ACD}"/>
          </ac:picMkLst>
        </pc:picChg>
        <pc:picChg chg="del">
          <ac:chgData name="Levente Letenyei" userId="e3f991d9504529cc" providerId="LiveId" clId="{E9BA9982-92CA-4348-A992-1EB4452594CD}" dt="2021-11-10T15:51:56.968" v="612" actId="478"/>
          <ac:picMkLst>
            <pc:docMk/>
            <pc:sldMk cId="1302202793" sldId="317"/>
            <ac:picMk id="31" creationId="{FD182838-E982-4ACB-862A-AD5BEB06E565}"/>
          </ac:picMkLst>
        </pc:picChg>
        <pc:picChg chg="add mod">
          <ac:chgData name="Levente Letenyei" userId="e3f991d9504529cc" providerId="LiveId" clId="{E9BA9982-92CA-4348-A992-1EB4452594CD}" dt="2021-11-18T22:04:31.785" v="2541" actId="1076"/>
          <ac:picMkLst>
            <pc:docMk/>
            <pc:sldMk cId="1302202793" sldId="317"/>
            <ac:picMk id="1026" creationId="{0C06D21A-BD7F-4D1F-BA5F-8D7424EA20D0}"/>
          </ac:picMkLst>
        </pc:picChg>
        <pc:picChg chg="del">
          <ac:chgData name="Levente Letenyei" userId="e3f991d9504529cc" providerId="LiveId" clId="{E9BA9982-92CA-4348-A992-1EB4452594CD}" dt="2021-11-11T10:19:09.772" v="615" actId="478"/>
          <ac:picMkLst>
            <pc:docMk/>
            <pc:sldMk cId="1302202793" sldId="317"/>
            <ac:picMk id="2050" creationId="{07571DF0-E5D1-4A03-9492-689BBA862920}"/>
          </ac:picMkLst>
        </pc:picChg>
        <pc:picChg chg="add mod">
          <ac:chgData name="Levente Letenyei" userId="e3f991d9504529cc" providerId="LiveId" clId="{E9BA9982-92CA-4348-A992-1EB4452594CD}" dt="2021-11-18T22:04:27.380" v="2540" actId="1076"/>
          <ac:picMkLst>
            <pc:docMk/>
            <pc:sldMk cId="1302202793" sldId="317"/>
            <ac:picMk id="2052" creationId="{26F70656-BBE9-426E-B969-F77A42BB4732}"/>
          </ac:picMkLst>
        </pc:picChg>
        <pc:picChg chg="add del mod">
          <ac:chgData name="Levente Letenyei" userId="e3f991d9504529cc" providerId="LiveId" clId="{E9BA9982-92CA-4348-A992-1EB4452594CD}" dt="2021-11-18T22:01:20.567" v="2372" actId="478"/>
          <ac:picMkLst>
            <pc:docMk/>
            <pc:sldMk cId="1302202793" sldId="317"/>
            <ac:picMk id="2054" creationId="{9E4BDE20-266A-4454-A405-180CE7A99753}"/>
          </ac:picMkLst>
        </pc:picChg>
        <pc:picChg chg="add mod">
          <ac:chgData name="Levente Letenyei" userId="e3f991d9504529cc" providerId="LiveId" clId="{E9BA9982-92CA-4348-A992-1EB4452594CD}" dt="2021-11-18T22:04:40.766" v="2543" actId="1076"/>
          <ac:picMkLst>
            <pc:docMk/>
            <pc:sldMk cId="1302202793" sldId="317"/>
            <ac:picMk id="2056" creationId="{DC2A6966-845F-4481-B32A-FCABC8367739}"/>
          </ac:picMkLst>
        </pc:picChg>
      </pc:sldChg>
      <pc:sldChg chg="del">
        <pc:chgData name="Levente Letenyei" userId="e3f991d9504529cc" providerId="LiveId" clId="{E9BA9982-92CA-4348-A992-1EB4452594CD}" dt="2021-11-10T15:48:58.146" v="561" actId="47"/>
        <pc:sldMkLst>
          <pc:docMk/>
          <pc:sldMk cId="2815655984" sldId="318"/>
        </pc:sldMkLst>
      </pc:sldChg>
      <pc:sldChg chg="addSp delSp modSp add mod">
        <pc:chgData name="Levente Letenyei" userId="e3f991d9504529cc" providerId="LiveId" clId="{E9BA9982-92CA-4348-A992-1EB4452594CD}" dt="2021-11-18T21:55:17.496" v="2143" actId="20577"/>
        <pc:sldMkLst>
          <pc:docMk/>
          <pc:sldMk cId="4136619593" sldId="318"/>
        </pc:sldMkLst>
        <pc:spChg chg="mod">
          <ac:chgData name="Levente Letenyei" userId="e3f991d9504529cc" providerId="LiveId" clId="{E9BA9982-92CA-4348-A992-1EB4452594CD}" dt="2021-11-18T21:55:17.496" v="2143" actId="20577"/>
          <ac:spMkLst>
            <pc:docMk/>
            <pc:sldMk cId="4136619593" sldId="318"/>
            <ac:spMk id="10" creationId="{F2D90FCB-7416-4BB8-BD06-713ADB1C72AE}"/>
          </ac:spMkLst>
        </pc:spChg>
        <pc:spChg chg="mod">
          <ac:chgData name="Levente Letenyei" userId="e3f991d9504529cc" providerId="LiveId" clId="{E9BA9982-92CA-4348-A992-1EB4452594CD}" dt="2021-11-18T04:50:10.444" v="1229" actId="20577"/>
          <ac:spMkLst>
            <pc:docMk/>
            <pc:sldMk cId="4136619593" sldId="318"/>
            <ac:spMk id="12" creationId="{83DEE3F5-E503-4E30-83A6-F881CD7B45F0}"/>
          </ac:spMkLst>
        </pc:spChg>
        <pc:spChg chg="add del">
          <ac:chgData name="Levente Letenyei" userId="e3f991d9504529cc" providerId="LiveId" clId="{E9BA9982-92CA-4348-A992-1EB4452594CD}" dt="2021-11-18T04:55:13.509" v="1326" actId="478"/>
          <ac:spMkLst>
            <pc:docMk/>
            <pc:sldMk cId="4136619593" sldId="318"/>
            <ac:spMk id="14" creationId="{C1B587F8-6FC4-4A00-BBFF-77B9228EF74D}"/>
          </ac:spMkLst>
        </pc:spChg>
        <pc:spChg chg="mod">
          <ac:chgData name="Levente Letenyei" userId="e3f991d9504529cc" providerId="LiveId" clId="{E9BA9982-92CA-4348-A992-1EB4452594CD}" dt="2021-11-18T04:50:26.784" v="1265" actId="20577"/>
          <ac:spMkLst>
            <pc:docMk/>
            <pc:sldMk cId="4136619593" sldId="318"/>
            <ac:spMk id="16" creationId="{97CCD77D-6E23-4F9C-83E5-E582C1BECC8C}"/>
          </ac:spMkLst>
        </pc:spChg>
        <pc:spChg chg="add mod">
          <ac:chgData name="Levente Letenyei" userId="e3f991d9504529cc" providerId="LiveId" clId="{E9BA9982-92CA-4348-A992-1EB4452594CD}" dt="2021-11-18T21:30:24.942" v="1826" actId="1076"/>
          <ac:spMkLst>
            <pc:docMk/>
            <pc:sldMk cId="4136619593" sldId="318"/>
            <ac:spMk id="19" creationId="{5D59E287-5497-4213-8608-F53E3E479496}"/>
          </ac:spMkLst>
        </pc:spChg>
        <pc:spChg chg="add mod">
          <ac:chgData name="Levente Letenyei" userId="e3f991d9504529cc" providerId="LiveId" clId="{E9BA9982-92CA-4348-A992-1EB4452594CD}" dt="2021-11-18T21:30:17.728" v="1825" actId="1076"/>
          <ac:spMkLst>
            <pc:docMk/>
            <pc:sldMk cId="4136619593" sldId="318"/>
            <ac:spMk id="20" creationId="{8B768C21-9434-4C60-85B2-836B490EF6E0}"/>
          </ac:spMkLst>
        </pc:spChg>
        <pc:spChg chg="add del mod">
          <ac:chgData name="Levente Letenyei" userId="e3f991d9504529cc" providerId="LiveId" clId="{E9BA9982-92CA-4348-A992-1EB4452594CD}" dt="2021-11-18T05:02:49.660" v="1379" actId="478"/>
          <ac:spMkLst>
            <pc:docMk/>
            <pc:sldMk cId="4136619593" sldId="318"/>
            <ac:spMk id="21" creationId="{8AD8C7FF-C7F5-46E9-87EE-4F1D2AF97777}"/>
          </ac:spMkLst>
        </pc:spChg>
        <pc:spChg chg="add mod">
          <ac:chgData name="Levente Letenyei" userId="e3f991d9504529cc" providerId="LiveId" clId="{E9BA9982-92CA-4348-A992-1EB4452594CD}" dt="2021-11-18T21:30:40.758" v="1828" actId="1076"/>
          <ac:spMkLst>
            <pc:docMk/>
            <pc:sldMk cId="4136619593" sldId="318"/>
            <ac:spMk id="22" creationId="{F35463A2-B1DE-4546-A698-4EBFDA0F3047}"/>
          </ac:spMkLst>
        </pc:spChg>
        <pc:spChg chg="add del mod">
          <ac:chgData name="Levente Letenyei" userId="e3f991d9504529cc" providerId="LiveId" clId="{E9BA9982-92CA-4348-A992-1EB4452594CD}" dt="2021-11-18T05:03:45.640" v="1385"/>
          <ac:spMkLst>
            <pc:docMk/>
            <pc:sldMk cId="4136619593" sldId="318"/>
            <ac:spMk id="23" creationId="{070B02F0-9C7C-4ED3-899D-5E151B6AD85E}"/>
          </ac:spMkLst>
        </pc:spChg>
        <pc:spChg chg="add mod">
          <ac:chgData name="Levente Letenyei" userId="e3f991d9504529cc" providerId="LiveId" clId="{E9BA9982-92CA-4348-A992-1EB4452594CD}" dt="2021-11-18T21:29:35.913" v="1820" actId="1076"/>
          <ac:spMkLst>
            <pc:docMk/>
            <pc:sldMk cId="4136619593" sldId="318"/>
            <ac:spMk id="24" creationId="{2F062B44-4177-4E23-848A-D6B2AF88AB29}"/>
          </ac:spMkLst>
        </pc:spChg>
        <pc:spChg chg="add mod">
          <ac:chgData name="Levente Letenyei" userId="e3f991d9504529cc" providerId="LiveId" clId="{E9BA9982-92CA-4348-A992-1EB4452594CD}" dt="2021-11-18T21:30:32.268" v="1827" actId="1076"/>
          <ac:spMkLst>
            <pc:docMk/>
            <pc:sldMk cId="4136619593" sldId="318"/>
            <ac:spMk id="25" creationId="{CF0E039D-4552-4866-9809-E90D9E308FE1}"/>
          </ac:spMkLst>
        </pc:spChg>
        <pc:spChg chg="add mod">
          <ac:chgData name="Levente Letenyei" userId="e3f991d9504529cc" providerId="LiveId" clId="{E9BA9982-92CA-4348-A992-1EB4452594CD}" dt="2021-11-18T21:30:05.934" v="1824" actId="1076"/>
          <ac:spMkLst>
            <pc:docMk/>
            <pc:sldMk cId="4136619593" sldId="318"/>
            <ac:spMk id="26" creationId="{CE1E660F-155F-44C4-99BA-24F06BAA8D1C}"/>
          </ac:spMkLst>
        </pc:spChg>
        <pc:picChg chg="add del mod">
          <ac:chgData name="Levente Letenyei" userId="e3f991d9504529cc" providerId="LiveId" clId="{E9BA9982-92CA-4348-A992-1EB4452594CD}" dt="2021-11-18T21:28:51.497" v="1815" actId="478"/>
          <ac:picMkLst>
            <pc:docMk/>
            <pc:sldMk cId="4136619593" sldId="318"/>
            <ac:picMk id="3" creationId="{5C6C539F-BA78-4C1B-9F2F-2DEC61A81CF0}"/>
          </ac:picMkLst>
        </pc:picChg>
        <pc:picChg chg="add del mod">
          <ac:chgData name="Levente Letenyei" userId="e3f991d9504529cc" providerId="LiveId" clId="{E9BA9982-92CA-4348-A992-1EB4452594CD}" dt="2021-11-18T04:57:23.038" v="1331" actId="478"/>
          <ac:picMkLst>
            <pc:docMk/>
            <pc:sldMk cId="4136619593" sldId="318"/>
            <ac:picMk id="4" creationId="{3BB51D58-68B2-41B0-935F-F8EDE1EF9AAA}"/>
          </ac:picMkLst>
        </pc:picChg>
        <pc:picChg chg="add mod ord">
          <ac:chgData name="Levente Letenyei" userId="e3f991d9504529cc" providerId="LiveId" clId="{E9BA9982-92CA-4348-A992-1EB4452594CD}" dt="2021-11-18T21:29:51.396" v="1823" actId="167"/>
          <ac:picMkLst>
            <pc:docMk/>
            <pc:sldMk cId="4136619593" sldId="318"/>
            <ac:picMk id="5" creationId="{E1D3A8BE-EFF9-429C-BDFE-D7FB39313F51}"/>
          </ac:picMkLst>
        </pc:picChg>
        <pc:picChg chg="add del mod modCrop">
          <ac:chgData name="Levente Letenyei" userId="e3f991d9504529cc" providerId="LiveId" clId="{E9BA9982-92CA-4348-A992-1EB4452594CD}" dt="2021-11-18T21:28:43.437" v="1811" actId="478"/>
          <ac:picMkLst>
            <pc:docMk/>
            <pc:sldMk cId="4136619593" sldId="318"/>
            <ac:picMk id="6" creationId="{13CE5BB3-E970-4814-ADF0-56790E4F57A9}"/>
          </ac:picMkLst>
        </pc:picChg>
        <pc:picChg chg="del mod">
          <ac:chgData name="Levente Letenyei" userId="e3f991d9504529cc" providerId="LiveId" clId="{E9BA9982-92CA-4348-A992-1EB4452594CD}" dt="2021-11-18T04:50:29.857" v="1267" actId="478"/>
          <ac:picMkLst>
            <pc:docMk/>
            <pc:sldMk cId="4136619593" sldId="318"/>
            <ac:picMk id="1026" creationId="{0C06D21A-BD7F-4D1F-BA5F-8D7424EA20D0}"/>
          </ac:picMkLst>
        </pc:picChg>
        <pc:picChg chg="add mod">
          <ac:chgData name="Levente Letenyei" userId="e3f991d9504529cc" providerId="LiveId" clId="{E9BA9982-92CA-4348-A992-1EB4452594CD}" dt="2021-11-18T05:13:08.342" v="1457" actId="14100"/>
          <ac:picMkLst>
            <pc:docMk/>
            <pc:sldMk cId="4136619593" sldId="318"/>
            <ac:picMk id="1028" creationId="{0BE265AA-A19E-4AC1-AF13-BBD9F72674E3}"/>
          </ac:picMkLst>
        </pc:picChg>
        <pc:picChg chg="del">
          <ac:chgData name="Levente Letenyei" userId="e3f991d9504529cc" providerId="LiveId" clId="{E9BA9982-92CA-4348-A992-1EB4452594CD}" dt="2021-11-18T04:50:32.848" v="1269" actId="478"/>
          <ac:picMkLst>
            <pc:docMk/>
            <pc:sldMk cId="4136619593" sldId="318"/>
            <ac:picMk id="2052" creationId="{26F70656-BBE9-426E-B969-F77A42BB4732}"/>
          </ac:picMkLst>
        </pc:picChg>
        <pc:picChg chg="del">
          <ac:chgData name="Levente Letenyei" userId="e3f991d9504529cc" providerId="LiveId" clId="{E9BA9982-92CA-4348-A992-1EB4452594CD}" dt="2021-11-18T04:50:31.476" v="1268" actId="478"/>
          <ac:picMkLst>
            <pc:docMk/>
            <pc:sldMk cId="4136619593" sldId="318"/>
            <ac:picMk id="2054" creationId="{9E4BDE20-266A-4454-A405-180CE7A99753}"/>
          </ac:picMkLst>
        </pc:picChg>
        <pc:picChg chg="del">
          <ac:chgData name="Levente Letenyei" userId="e3f991d9504529cc" providerId="LiveId" clId="{E9BA9982-92CA-4348-A992-1EB4452594CD}" dt="2021-11-18T04:50:34.142" v="1270" actId="478"/>
          <ac:picMkLst>
            <pc:docMk/>
            <pc:sldMk cId="4136619593" sldId="318"/>
            <ac:picMk id="2056" creationId="{DC2A6966-845F-4481-B32A-FCABC8367739}"/>
          </ac:picMkLst>
        </pc:picChg>
      </pc:sldChg>
      <pc:sldChg chg="modSp add del mod">
        <pc:chgData name="Levente Letenyei" userId="e3f991d9504529cc" providerId="LiveId" clId="{E9BA9982-92CA-4348-A992-1EB4452594CD}" dt="2021-11-18T22:00:07.952" v="2358" actId="47"/>
        <pc:sldMkLst>
          <pc:docMk/>
          <pc:sldMk cId="3895354379" sldId="319"/>
        </pc:sldMkLst>
        <pc:spChg chg="mod">
          <ac:chgData name="Levente Letenyei" userId="e3f991d9504529cc" providerId="LiveId" clId="{E9BA9982-92CA-4348-A992-1EB4452594CD}" dt="2021-11-18T05:03:49.602" v="1386" actId="1076"/>
          <ac:spMkLst>
            <pc:docMk/>
            <pc:sldMk cId="3895354379" sldId="319"/>
            <ac:spMk id="11" creationId="{97542C87-4F8D-4DF9-96D3-0841B5466DC1}"/>
          </ac:spMkLst>
        </pc:spChg>
        <pc:grpChg chg="mod">
          <ac:chgData name="Levente Letenyei" userId="e3f991d9504529cc" providerId="LiveId" clId="{E9BA9982-92CA-4348-A992-1EB4452594CD}" dt="2021-11-18T05:01:53.286" v="1363" actId="1076"/>
          <ac:grpSpMkLst>
            <pc:docMk/>
            <pc:sldMk cId="3895354379" sldId="319"/>
            <ac:grpSpMk id="10" creationId="{FD11FCD5-6427-4621-8142-86A5039E1B22}"/>
          </ac:grpSpMkLst>
        </pc:grpChg>
      </pc:sldChg>
      <pc:sldChg chg="del">
        <pc:chgData name="Levente Letenyei" userId="e3f991d9504529cc" providerId="LiveId" clId="{E9BA9982-92CA-4348-A992-1EB4452594CD}" dt="2021-11-10T15:48:58.452" v="563" actId="47"/>
        <pc:sldMkLst>
          <pc:docMk/>
          <pc:sldMk cId="3592976729" sldId="320"/>
        </pc:sldMkLst>
      </pc:sldChg>
      <pc:sldChg chg="del">
        <pc:chgData name="Levente Letenyei" userId="e3f991d9504529cc" providerId="LiveId" clId="{E9BA9982-92CA-4348-A992-1EB4452594CD}" dt="2021-11-18T22:11:05.242" v="2559" actId="47"/>
        <pc:sldMkLst>
          <pc:docMk/>
          <pc:sldMk cId="4258770525" sldId="320"/>
        </pc:sldMkLst>
      </pc:sldChg>
      <pc:sldChg chg="addSp delSp modSp add mod">
        <pc:chgData name="Levente Letenyei" userId="e3f991d9504529cc" providerId="LiveId" clId="{E9BA9982-92CA-4348-A992-1EB4452594CD}" dt="2021-11-18T21:52:59.812" v="2120" actId="21"/>
        <pc:sldMkLst>
          <pc:docMk/>
          <pc:sldMk cId="1503024148" sldId="321"/>
        </pc:sldMkLst>
        <pc:spChg chg="del">
          <ac:chgData name="Levente Letenyei" userId="e3f991d9504529cc" providerId="LiveId" clId="{E9BA9982-92CA-4348-A992-1EB4452594CD}" dt="2021-11-18T21:37:07.101" v="1978" actId="478"/>
          <ac:spMkLst>
            <pc:docMk/>
            <pc:sldMk cId="1503024148" sldId="321"/>
            <ac:spMk id="14" creationId="{7D3836EB-D7B8-4F82-9F52-F705E7798237}"/>
          </ac:spMkLst>
        </pc:spChg>
        <pc:spChg chg="mod">
          <ac:chgData name="Levente Letenyei" userId="e3f991d9504529cc" providerId="LiveId" clId="{E9BA9982-92CA-4348-A992-1EB4452594CD}" dt="2021-11-18T21:37:03.704" v="1977" actId="20577"/>
          <ac:spMkLst>
            <pc:docMk/>
            <pc:sldMk cId="1503024148" sldId="321"/>
            <ac:spMk id="16" creationId="{97CCD77D-6E23-4F9C-83E5-E582C1BECC8C}"/>
          </ac:spMkLst>
        </pc:spChg>
        <pc:picChg chg="del">
          <ac:chgData name="Levente Letenyei" userId="e3f991d9504529cc" providerId="LiveId" clId="{E9BA9982-92CA-4348-A992-1EB4452594CD}" dt="2021-11-18T21:52:59.812" v="2120" actId="21"/>
          <ac:picMkLst>
            <pc:docMk/>
            <pc:sldMk cId="1503024148" sldId="321"/>
            <ac:picMk id="2" creationId="{DD1520A0-818C-420A-A30B-015204B5B5CD}"/>
          </ac:picMkLst>
        </pc:picChg>
        <pc:picChg chg="add del mod">
          <ac:chgData name="Levente Letenyei" userId="e3f991d9504529cc" providerId="LiveId" clId="{E9BA9982-92CA-4348-A992-1EB4452594CD}" dt="2021-11-18T21:38:15.805" v="1984" actId="478"/>
          <ac:picMkLst>
            <pc:docMk/>
            <pc:sldMk cId="1503024148" sldId="321"/>
            <ac:picMk id="3" creationId="{99A15452-1896-4948-A025-B73BB6CAF159}"/>
          </ac:picMkLst>
        </pc:picChg>
        <pc:picChg chg="add del mod">
          <ac:chgData name="Levente Letenyei" userId="e3f991d9504529cc" providerId="LiveId" clId="{E9BA9982-92CA-4348-A992-1EB4452594CD}" dt="2021-11-18T21:42:45.097" v="1987" actId="478"/>
          <ac:picMkLst>
            <pc:docMk/>
            <pc:sldMk cId="1503024148" sldId="321"/>
            <ac:picMk id="5" creationId="{249295B8-845D-437C-8E0A-9553C9499404}"/>
          </ac:picMkLst>
        </pc:picChg>
        <pc:picChg chg="add mod">
          <ac:chgData name="Levente Letenyei" userId="e3f991d9504529cc" providerId="LiveId" clId="{E9BA9982-92CA-4348-A992-1EB4452594CD}" dt="2021-11-18T21:43:50.339" v="1992" actId="14100"/>
          <ac:picMkLst>
            <pc:docMk/>
            <pc:sldMk cId="1503024148" sldId="321"/>
            <ac:picMk id="7" creationId="{D4B9F223-1A37-4E4F-AC27-B1985B58D840}"/>
          </ac:picMkLst>
        </pc:picChg>
        <pc:picChg chg="add mod">
          <ac:chgData name="Levente Letenyei" userId="e3f991d9504529cc" providerId="LiveId" clId="{E9BA9982-92CA-4348-A992-1EB4452594CD}" dt="2021-11-18T21:44:32.893" v="1997" actId="1076"/>
          <ac:picMkLst>
            <pc:docMk/>
            <pc:sldMk cId="1503024148" sldId="321"/>
            <ac:picMk id="10" creationId="{8701BCB5-5DFF-466D-A08C-992892F24265}"/>
          </ac:picMkLst>
        </pc:picChg>
      </pc:sldChg>
      <pc:sldChg chg="del">
        <pc:chgData name="Levente Letenyei" userId="e3f991d9504529cc" providerId="LiveId" clId="{E9BA9982-92CA-4348-A992-1EB4452594CD}" dt="2021-11-10T15:48:59.330" v="565" actId="47"/>
        <pc:sldMkLst>
          <pc:docMk/>
          <pc:sldMk cId="3836762085" sldId="321"/>
        </pc:sldMkLst>
      </pc:sldChg>
      <pc:sldChg chg="del">
        <pc:chgData name="Levente Letenyei" userId="e3f991d9504529cc" providerId="LiveId" clId="{E9BA9982-92CA-4348-A992-1EB4452594CD}" dt="2021-11-10T15:48:58.813" v="564" actId="47"/>
        <pc:sldMkLst>
          <pc:docMk/>
          <pc:sldMk cId="3286418777" sldId="322"/>
        </pc:sldMkLst>
      </pc:sldChg>
      <pc:sldChg chg="addSp delSp modSp add mod ord">
        <pc:chgData name="Levente Letenyei" userId="e3f991d9504529cc" providerId="LiveId" clId="{E9BA9982-92CA-4348-A992-1EB4452594CD}" dt="2021-11-18T22:16:31.828" v="2668" actId="1076"/>
        <pc:sldMkLst>
          <pc:docMk/>
          <pc:sldMk cId="4093221303" sldId="322"/>
        </pc:sldMkLst>
        <pc:spChg chg="mod">
          <ac:chgData name="Levente Letenyei" userId="e3f991d9504529cc" providerId="LiveId" clId="{E9BA9982-92CA-4348-A992-1EB4452594CD}" dt="2021-11-18T21:46:34.526" v="2023"/>
          <ac:spMkLst>
            <pc:docMk/>
            <pc:sldMk cId="4093221303" sldId="322"/>
            <ac:spMk id="12" creationId="{83DEE3F5-E503-4E30-83A6-F881CD7B45F0}"/>
          </ac:spMkLst>
        </pc:spChg>
        <pc:spChg chg="mod">
          <ac:chgData name="Levente Letenyei" userId="e3f991d9504529cc" providerId="LiveId" clId="{E9BA9982-92CA-4348-A992-1EB4452594CD}" dt="2021-11-18T21:48:26.908" v="2116" actId="20577"/>
          <ac:spMkLst>
            <pc:docMk/>
            <pc:sldMk cId="4093221303" sldId="322"/>
            <ac:spMk id="14" creationId="{7D3836EB-D7B8-4F82-9F52-F705E7798237}"/>
          </ac:spMkLst>
        </pc:spChg>
        <pc:picChg chg="add del mod">
          <ac:chgData name="Levente Letenyei" userId="e3f991d9504529cc" providerId="LiveId" clId="{E9BA9982-92CA-4348-A992-1EB4452594CD}" dt="2021-11-18T22:16:14.543" v="2665" actId="478"/>
          <ac:picMkLst>
            <pc:docMk/>
            <pc:sldMk cId="4093221303" sldId="322"/>
            <ac:picMk id="4" creationId="{E446E2B5-EC2B-4FF6-A80E-B9CBB699FBD1}"/>
          </ac:picMkLst>
        </pc:picChg>
        <pc:picChg chg="add mod">
          <ac:chgData name="Levente Letenyei" userId="e3f991d9504529cc" providerId="LiveId" clId="{E9BA9982-92CA-4348-A992-1EB4452594CD}" dt="2021-11-18T22:16:31.828" v="2668" actId="1076"/>
          <ac:picMkLst>
            <pc:docMk/>
            <pc:sldMk cId="4093221303" sldId="322"/>
            <ac:picMk id="6" creationId="{03F844CE-2DF7-4A75-91E7-C3BE0BF96093}"/>
          </ac:picMkLst>
        </pc:picChg>
        <pc:picChg chg="add mod">
          <ac:chgData name="Levente Letenyei" userId="e3f991d9504529cc" providerId="LiveId" clId="{E9BA9982-92CA-4348-A992-1EB4452594CD}" dt="2021-11-18T22:05:23.107" v="2546" actId="1076"/>
          <ac:picMkLst>
            <pc:docMk/>
            <pc:sldMk cId="4093221303" sldId="322"/>
            <ac:picMk id="11" creationId="{14D45AD0-3946-4F7F-A3D0-5103A2758A76}"/>
          </ac:picMkLst>
        </pc:picChg>
        <pc:picChg chg="add del mod ord">
          <ac:chgData name="Levente Letenyei" userId="e3f991d9504529cc" providerId="LiveId" clId="{E9BA9982-92CA-4348-A992-1EB4452594CD}" dt="2021-11-18T22:15:14.794" v="2660" actId="478"/>
          <ac:picMkLst>
            <pc:docMk/>
            <pc:sldMk cId="4093221303" sldId="322"/>
            <ac:picMk id="17" creationId="{15743E35-7735-4695-8E11-C8D474B4D217}"/>
          </ac:picMkLst>
        </pc:picChg>
        <pc:picChg chg="del">
          <ac:chgData name="Levente Letenyei" userId="e3f991d9504529cc" providerId="LiveId" clId="{E9BA9982-92CA-4348-A992-1EB4452594CD}" dt="2021-11-18T21:46:58.287" v="2024" actId="478"/>
          <ac:picMkLst>
            <pc:docMk/>
            <pc:sldMk cId="4093221303" sldId="322"/>
            <ac:picMk id="3074" creationId="{F54C4AF4-686F-4876-AB11-8CBC69DC791F}"/>
          </ac:picMkLst>
        </pc:picChg>
      </pc:sldChg>
      <pc:sldChg chg="del">
        <pc:chgData name="Levente Letenyei" userId="e3f991d9504529cc" providerId="LiveId" clId="{E9BA9982-92CA-4348-A992-1EB4452594CD}" dt="2021-11-10T15:49:01.595" v="571" actId="47"/>
        <pc:sldMkLst>
          <pc:docMk/>
          <pc:sldMk cId="396673534" sldId="323"/>
        </pc:sldMkLst>
      </pc:sldChg>
      <pc:sldChg chg="addSp delSp modSp add mod ord">
        <pc:chgData name="Levente Letenyei" userId="e3f991d9504529cc" providerId="LiveId" clId="{E9BA9982-92CA-4348-A992-1EB4452594CD}" dt="2021-11-18T22:00:01.255" v="2357" actId="1076"/>
        <pc:sldMkLst>
          <pc:docMk/>
          <pc:sldMk cId="488040415" sldId="323"/>
        </pc:sldMkLst>
        <pc:spChg chg="mod">
          <ac:chgData name="Levente Letenyei" userId="e3f991d9504529cc" providerId="LiveId" clId="{E9BA9982-92CA-4348-A992-1EB4452594CD}" dt="2021-11-18T21:54:23.496" v="2136"/>
          <ac:spMkLst>
            <pc:docMk/>
            <pc:sldMk cId="488040415" sldId="323"/>
            <ac:spMk id="12" creationId="{83DEE3F5-E503-4E30-83A6-F881CD7B45F0}"/>
          </ac:spMkLst>
        </pc:spChg>
        <pc:spChg chg="add mod">
          <ac:chgData name="Levente Letenyei" userId="e3f991d9504529cc" providerId="LiveId" clId="{E9BA9982-92CA-4348-A992-1EB4452594CD}" dt="2021-11-18T21:59:18.171" v="2347" actId="108"/>
          <ac:spMkLst>
            <pc:docMk/>
            <pc:sldMk cId="488040415" sldId="323"/>
            <ac:spMk id="14" creationId="{CA8C8218-6AE3-485F-A9F2-0282DF0B0B66}"/>
          </ac:spMkLst>
        </pc:spChg>
        <pc:picChg chg="add del">
          <ac:chgData name="Levente Letenyei" userId="e3f991d9504529cc" providerId="LiveId" clId="{E9BA9982-92CA-4348-A992-1EB4452594CD}" dt="2021-11-18T21:55:00.011" v="2140" actId="478"/>
          <ac:picMkLst>
            <pc:docMk/>
            <pc:sldMk cId="488040415" sldId="323"/>
            <ac:picMk id="3" creationId="{DF50DB25-1A14-4607-ABCC-3540B4C71D6B}"/>
          </ac:picMkLst>
        </pc:picChg>
        <pc:picChg chg="add mod">
          <ac:chgData name="Levente Letenyei" userId="e3f991d9504529cc" providerId="LiveId" clId="{E9BA9982-92CA-4348-A992-1EB4452594CD}" dt="2021-11-18T21:59:31.906" v="2352" actId="1076"/>
          <ac:picMkLst>
            <pc:docMk/>
            <pc:sldMk cId="488040415" sldId="323"/>
            <ac:picMk id="5" creationId="{E3FAD281-0EE1-4DAB-93F1-DA2AEE187CB4}"/>
          </ac:picMkLst>
        </pc:picChg>
        <pc:picChg chg="del">
          <ac:chgData name="Levente Letenyei" userId="e3f991d9504529cc" providerId="LiveId" clId="{E9BA9982-92CA-4348-A992-1EB4452594CD}" dt="2021-11-18T21:54:26.061" v="2137" actId="478"/>
          <ac:picMkLst>
            <pc:docMk/>
            <pc:sldMk cId="488040415" sldId="323"/>
            <ac:picMk id="7" creationId="{D4B9F223-1A37-4E4F-AC27-B1985B58D840}"/>
          </ac:picMkLst>
        </pc:picChg>
        <pc:picChg chg="del">
          <ac:chgData name="Levente Letenyei" userId="e3f991d9504529cc" providerId="LiveId" clId="{E9BA9982-92CA-4348-A992-1EB4452594CD}" dt="2021-11-18T21:54:26.682" v="2138" actId="478"/>
          <ac:picMkLst>
            <pc:docMk/>
            <pc:sldMk cId="488040415" sldId="323"/>
            <ac:picMk id="10" creationId="{8701BCB5-5DFF-466D-A08C-992892F24265}"/>
          </ac:picMkLst>
        </pc:picChg>
        <pc:picChg chg="add mod">
          <ac:chgData name="Levente Letenyei" userId="e3f991d9504529cc" providerId="LiveId" clId="{E9BA9982-92CA-4348-A992-1EB4452594CD}" dt="2021-11-18T22:00:01.255" v="2357" actId="1076"/>
          <ac:picMkLst>
            <pc:docMk/>
            <pc:sldMk cId="488040415" sldId="323"/>
            <ac:picMk id="5124" creationId="{8023B359-8CB0-4484-BBD2-B99B87736BAA}"/>
          </ac:picMkLst>
        </pc:picChg>
        <pc:picChg chg="add mod">
          <ac:chgData name="Levente Letenyei" userId="e3f991d9504529cc" providerId="LiveId" clId="{E9BA9982-92CA-4348-A992-1EB4452594CD}" dt="2021-11-18T21:59:58.665" v="2356" actId="688"/>
          <ac:picMkLst>
            <pc:docMk/>
            <pc:sldMk cId="488040415" sldId="323"/>
            <ac:picMk id="5126" creationId="{972D5C3D-3DD8-47EE-A606-A0AB00D5AD94}"/>
          </ac:picMkLst>
        </pc:picChg>
      </pc:sldChg>
      <pc:sldChg chg="del">
        <pc:chgData name="Levente Letenyei" userId="e3f991d9504529cc" providerId="LiveId" clId="{E9BA9982-92CA-4348-A992-1EB4452594CD}" dt="2021-11-10T15:49:01.932" v="572" actId="47"/>
        <pc:sldMkLst>
          <pc:docMk/>
          <pc:sldMk cId="3391035527" sldId="324"/>
        </pc:sldMkLst>
      </pc:sldChg>
      <pc:sldChg chg="del">
        <pc:chgData name="Levente Letenyei" userId="e3f991d9504529cc" providerId="LiveId" clId="{E9BA9982-92CA-4348-A992-1EB4452594CD}" dt="2021-11-10T15:49:02.658" v="574" actId="47"/>
        <pc:sldMkLst>
          <pc:docMk/>
          <pc:sldMk cId="2569436222" sldId="325"/>
        </pc:sldMkLst>
      </pc:sldChg>
      <pc:sldChg chg="del">
        <pc:chgData name="Levente Letenyei" userId="e3f991d9504529cc" providerId="LiveId" clId="{E9BA9982-92CA-4348-A992-1EB4452594CD}" dt="2021-11-10T15:49:03.355" v="576" actId="47"/>
        <pc:sldMkLst>
          <pc:docMk/>
          <pc:sldMk cId="3360008194" sldId="326"/>
        </pc:sldMkLst>
      </pc:sldChg>
      <pc:sldChg chg="del">
        <pc:chgData name="Levente Letenyei" userId="e3f991d9504529cc" providerId="LiveId" clId="{E9BA9982-92CA-4348-A992-1EB4452594CD}" dt="2021-11-10T15:49:00.197" v="567" actId="47"/>
        <pc:sldMkLst>
          <pc:docMk/>
          <pc:sldMk cId="1978651090" sldId="335"/>
        </pc:sldMkLst>
      </pc:sldChg>
      <pc:sldChg chg="del">
        <pc:chgData name="Levente Letenyei" userId="e3f991d9504529cc" providerId="LiveId" clId="{E9BA9982-92CA-4348-A992-1EB4452594CD}" dt="2021-11-10T15:25:26.841" v="44" actId="47"/>
        <pc:sldMkLst>
          <pc:docMk/>
          <pc:sldMk cId="3201015896" sldId="336"/>
        </pc:sldMkLst>
      </pc:sldChg>
      <pc:sldChg chg="del">
        <pc:chgData name="Levente Letenyei" userId="e3f991d9504529cc" providerId="LiveId" clId="{E9BA9982-92CA-4348-A992-1EB4452594CD}" dt="2021-11-10T15:49:03.617" v="577" actId="47"/>
        <pc:sldMkLst>
          <pc:docMk/>
          <pc:sldMk cId="1647263641" sldId="337"/>
        </pc:sldMkLst>
      </pc:sldChg>
      <pc:sldChg chg="del">
        <pc:chgData name="Levente Letenyei" userId="e3f991d9504529cc" providerId="LiveId" clId="{E9BA9982-92CA-4348-A992-1EB4452594CD}" dt="2021-11-10T15:49:03.013" v="575" actId="47"/>
        <pc:sldMkLst>
          <pc:docMk/>
          <pc:sldMk cId="200805049" sldId="338"/>
        </pc:sldMkLst>
      </pc:sldChg>
      <pc:sldChg chg="del">
        <pc:chgData name="Levente Letenyei" userId="e3f991d9504529cc" providerId="LiveId" clId="{E9BA9982-92CA-4348-A992-1EB4452594CD}" dt="2021-11-10T15:49:02.324" v="573" actId="47"/>
        <pc:sldMkLst>
          <pc:docMk/>
          <pc:sldMk cId="3936912035" sldId="339"/>
        </pc:sldMkLst>
      </pc:sldChg>
      <pc:sldChg chg="del">
        <pc:chgData name="Levente Letenyei" userId="e3f991d9504529cc" providerId="LiveId" clId="{E9BA9982-92CA-4348-A992-1EB4452594CD}" dt="2021-11-10T15:49:01.248" v="570" actId="47"/>
        <pc:sldMkLst>
          <pc:docMk/>
          <pc:sldMk cId="2651163356" sldId="340"/>
        </pc:sldMkLst>
      </pc:sldChg>
      <pc:sldChg chg="del">
        <pc:chgData name="Levente Letenyei" userId="e3f991d9504529cc" providerId="LiveId" clId="{E9BA9982-92CA-4348-A992-1EB4452594CD}" dt="2021-11-10T15:48:59.789" v="566" actId="47"/>
        <pc:sldMkLst>
          <pc:docMk/>
          <pc:sldMk cId="2895319308" sldId="341"/>
        </pc:sldMkLst>
      </pc:sldChg>
      <pc:sldChg chg="del">
        <pc:chgData name="Levente Letenyei" userId="e3f991d9504529cc" providerId="LiveId" clId="{E9BA9982-92CA-4348-A992-1EB4452594CD}" dt="2021-11-10T15:48:58.324" v="562" actId="47"/>
        <pc:sldMkLst>
          <pc:docMk/>
          <pc:sldMk cId="4101147012" sldId="342"/>
        </pc:sldMkLst>
      </pc:sldChg>
      <pc:sldChg chg="del">
        <pc:chgData name="Levente Letenyei" userId="e3f991d9504529cc" providerId="LiveId" clId="{E9BA9982-92CA-4348-A992-1EB4452594CD}" dt="2021-11-10T15:48:57.835" v="560" actId="47"/>
        <pc:sldMkLst>
          <pc:docMk/>
          <pc:sldMk cId="115251838" sldId="343"/>
        </pc:sldMkLst>
      </pc:sldChg>
      <pc:sldChg chg="del">
        <pc:chgData name="Levente Letenyei" userId="e3f991d9504529cc" providerId="LiveId" clId="{E9BA9982-92CA-4348-A992-1EB4452594CD}" dt="2021-11-10T15:48:55.978" v="557" actId="47"/>
        <pc:sldMkLst>
          <pc:docMk/>
          <pc:sldMk cId="3949298277" sldId="344"/>
        </pc:sldMkLst>
      </pc:sldChg>
      <pc:sldChg chg="del">
        <pc:chgData name="Levente Letenyei" userId="e3f991d9504529cc" providerId="LiveId" clId="{E9BA9982-92CA-4348-A992-1EB4452594CD}" dt="2021-11-10T15:49:04.467" v="578" actId="47"/>
        <pc:sldMkLst>
          <pc:docMk/>
          <pc:sldMk cId="474809112" sldId="345"/>
        </pc:sldMkLst>
      </pc:sldChg>
      <pc:sldMasterChg chg="delSldLayout">
        <pc:chgData name="Levente Letenyei" userId="e3f991d9504529cc" providerId="LiveId" clId="{E9BA9982-92CA-4348-A992-1EB4452594CD}" dt="2021-11-10T15:49:03.617" v="577" actId="47"/>
        <pc:sldMasterMkLst>
          <pc:docMk/>
          <pc:sldMasterMk cId="2209421691" sldId="2147483660"/>
        </pc:sldMasterMkLst>
        <pc:sldLayoutChg chg="del">
          <pc:chgData name="Levente Letenyei" userId="e3f991d9504529cc" providerId="LiveId" clId="{E9BA9982-92CA-4348-A992-1EB4452594CD}" dt="2021-11-10T15:49:03.617" v="577" actId="47"/>
          <pc:sldLayoutMkLst>
            <pc:docMk/>
            <pc:sldMasterMk cId="2209421691" sldId="2147483660"/>
            <pc:sldLayoutMk cId="39500371" sldId="2147483660"/>
          </pc:sldLayoutMkLst>
        </pc:sldLayoutChg>
      </pc:sldMasterChg>
    </pc:docChg>
  </pc:docChgLst>
  <pc:docChgLst>
    <pc:chgData name="Guest User" providerId="Windows Live" clId="Web-{73CA6875-5FA4-4BAF-BDBE-F5197642BB80}"/>
    <pc:docChg chg="addSld modSld sldOrd">
      <pc:chgData name="Guest User" userId="" providerId="Windows Live" clId="Web-{73CA6875-5FA4-4BAF-BDBE-F5197642BB80}" dt="2021-11-18T22:02:42.807" v="82" actId="20577"/>
      <pc:docMkLst>
        <pc:docMk/>
      </pc:docMkLst>
      <pc:sldChg chg="addSp delSp modSp ord">
        <pc:chgData name="Guest User" userId="" providerId="Windows Live" clId="Web-{73CA6875-5FA4-4BAF-BDBE-F5197642BB80}" dt="2021-11-18T21:58:46.947" v="57"/>
        <pc:sldMkLst>
          <pc:docMk/>
          <pc:sldMk cId="784159553" sldId="315"/>
        </pc:sldMkLst>
        <pc:spChg chg="del mod">
          <ac:chgData name="Guest User" userId="" providerId="Windows Live" clId="Web-{73CA6875-5FA4-4BAF-BDBE-F5197642BB80}" dt="2021-11-18T21:42:54.597" v="6"/>
          <ac:spMkLst>
            <pc:docMk/>
            <pc:sldMk cId="784159553" sldId="315"/>
            <ac:spMk id="9" creationId="{5846B8F1-6A77-4EA6-AA43-4CFE7DC6492F}"/>
          </ac:spMkLst>
        </pc:spChg>
        <pc:spChg chg="mod">
          <ac:chgData name="Guest User" userId="" providerId="Windows Live" clId="Web-{73CA6875-5FA4-4BAF-BDBE-F5197642BB80}" dt="2021-11-18T21:44:46.613" v="25" actId="20577"/>
          <ac:spMkLst>
            <pc:docMk/>
            <pc:sldMk cId="784159553" sldId="315"/>
            <ac:spMk id="12" creationId="{83DEE3F5-E503-4E30-83A6-F881CD7B45F0}"/>
          </ac:spMkLst>
        </pc:spChg>
        <pc:spChg chg="mod">
          <ac:chgData name="Guest User" userId="" providerId="Windows Live" clId="Web-{73CA6875-5FA4-4BAF-BDBE-F5197642BB80}" dt="2021-11-18T21:48:28.161" v="41" actId="20577"/>
          <ac:spMkLst>
            <pc:docMk/>
            <pc:sldMk cId="784159553" sldId="315"/>
            <ac:spMk id="16" creationId="{97CCD77D-6E23-4F9C-83E5-E582C1BECC8C}"/>
          </ac:spMkLst>
        </pc:spChg>
        <pc:picChg chg="add del mod">
          <ac:chgData name="Guest User" userId="" providerId="Windows Live" clId="Web-{73CA6875-5FA4-4BAF-BDBE-F5197642BB80}" dt="2021-11-18T21:44:23.207" v="15"/>
          <ac:picMkLst>
            <pc:docMk/>
            <pc:sldMk cId="784159553" sldId="315"/>
            <ac:picMk id="2" creationId="{1BF39480-4B8D-46DC-8F37-D0BC61265A11}"/>
          </ac:picMkLst>
        </pc:picChg>
        <pc:picChg chg="add mod">
          <ac:chgData name="Guest User" userId="" providerId="Windows Live" clId="Web-{73CA6875-5FA4-4BAF-BDBE-F5197642BB80}" dt="2021-11-18T21:45:51.613" v="33" actId="1076"/>
          <ac:picMkLst>
            <pc:docMk/>
            <pc:sldMk cId="784159553" sldId="315"/>
            <ac:picMk id="3" creationId="{35B7258A-292C-4D5D-86B9-D38B7B2A6CB9}"/>
          </ac:picMkLst>
        </pc:picChg>
        <pc:picChg chg="add mod">
          <ac:chgData name="Guest User" userId="" providerId="Windows Live" clId="Web-{73CA6875-5FA4-4BAF-BDBE-F5197642BB80}" dt="2021-11-18T21:58:27.838" v="54" actId="1076"/>
          <ac:picMkLst>
            <pc:docMk/>
            <pc:sldMk cId="784159553" sldId="315"/>
            <ac:picMk id="4" creationId="{65429E9F-CE74-4E8A-B0A5-A58721DBB984}"/>
          </ac:picMkLst>
        </pc:picChg>
        <pc:picChg chg="add mod">
          <ac:chgData name="Guest User" userId="" providerId="Windows Live" clId="Web-{73CA6875-5FA4-4BAF-BDBE-F5197642BB80}" dt="2021-11-18T21:45:39.004" v="29" actId="1076"/>
          <ac:picMkLst>
            <pc:docMk/>
            <pc:sldMk cId="784159553" sldId="315"/>
            <ac:picMk id="5" creationId="{1D8EE4B7-3CF9-4117-9123-F32AE4F64EDF}"/>
          </ac:picMkLst>
        </pc:picChg>
        <pc:picChg chg="add del mod">
          <ac:chgData name="Guest User" userId="" providerId="Windows Live" clId="Web-{73CA6875-5FA4-4BAF-BDBE-F5197642BB80}" dt="2021-11-18T21:58:45.525" v="56"/>
          <ac:picMkLst>
            <pc:docMk/>
            <pc:sldMk cId="784159553" sldId="315"/>
            <ac:picMk id="6" creationId="{1A5C0A50-E0FA-4237-9262-BA11EBCF6060}"/>
          </ac:picMkLst>
        </pc:picChg>
        <pc:picChg chg="add del mod">
          <ac:chgData name="Guest User" userId="" providerId="Windows Live" clId="Web-{73CA6875-5FA4-4BAF-BDBE-F5197642BB80}" dt="2021-11-18T21:58:46.947" v="57"/>
          <ac:picMkLst>
            <pc:docMk/>
            <pc:sldMk cId="784159553" sldId="315"/>
            <ac:picMk id="7" creationId="{466EFD55-C13B-45C6-86E8-D449A16D6B85}"/>
          </ac:picMkLst>
        </pc:picChg>
        <pc:picChg chg="del">
          <ac:chgData name="Guest User" userId="" providerId="Windows Live" clId="Web-{73CA6875-5FA4-4BAF-BDBE-F5197642BB80}" dt="2021-11-18T21:42:43.832" v="2"/>
          <ac:picMkLst>
            <pc:docMk/>
            <pc:sldMk cId="784159553" sldId="315"/>
            <ac:picMk id="1026" creationId="{A8205957-36F1-4B1B-A45D-9ED7CE3FBF49}"/>
          </ac:picMkLst>
        </pc:picChg>
        <pc:picChg chg="del">
          <ac:chgData name="Guest User" userId="" providerId="Windows Live" clId="Web-{73CA6875-5FA4-4BAF-BDBE-F5197642BB80}" dt="2021-11-18T21:42:41.769" v="1"/>
          <ac:picMkLst>
            <pc:docMk/>
            <pc:sldMk cId="784159553" sldId="315"/>
            <ac:picMk id="1028" creationId="{7CC0903C-C506-49A1-8C9D-C37CE292231E}"/>
          </ac:picMkLst>
        </pc:picChg>
      </pc:sldChg>
      <pc:sldChg chg="modSp">
        <pc:chgData name="Guest User" userId="" providerId="Windows Live" clId="Web-{73CA6875-5FA4-4BAF-BDBE-F5197642BB80}" dt="2021-11-18T21:47:29.785" v="38" actId="20577"/>
        <pc:sldMkLst>
          <pc:docMk/>
          <pc:sldMk cId="3460968719" sldId="316"/>
        </pc:sldMkLst>
        <pc:spChg chg="mod">
          <ac:chgData name="Guest User" userId="" providerId="Windows Live" clId="Web-{73CA6875-5FA4-4BAF-BDBE-F5197642BB80}" dt="2021-11-18T21:47:29.785" v="38" actId="20577"/>
          <ac:spMkLst>
            <pc:docMk/>
            <pc:sldMk cId="3460968719" sldId="316"/>
            <ac:spMk id="16" creationId="{97CCD77D-6E23-4F9C-83E5-E582C1BECC8C}"/>
          </ac:spMkLst>
        </pc:spChg>
      </pc:sldChg>
      <pc:sldChg chg="addSp delSp modSp new">
        <pc:chgData name="Guest User" userId="" providerId="Windows Live" clId="Web-{73CA6875-5FA4-4BAF-BDBE-F5197642BB80}" dt="2021-11-18T22:01:54.901" v="80" actId="14100"/>
        <pc:sldMkLst>
          <pc:docMk/>
          <pc:sldMk cId="4258770525" sldId="320"/>
        </pc:sldMkLst>
        <pc:spChg chg="del">
          <ac:chgData name="Guest User" userId="" providerId="Windows Live" clId="Web-{73CA6875-5FA4-4BAF-BDBE-F5197642BB80}" dt="2021-11-18T21:58:58.885" v="58"/>
          <ac:spMkLst>
            <pc:docMk/>
            <pc:sldMk cId="4258770525" sldId="320"/>
            <ac:spMk id="3" creationId="{A308C882-C446-4224-8B46-D9E889B69B5F}"/>
          </ac:spMkLst>
        </pc:spChg>
        <pc:spChg chg="add del mod">
          <ac:chgData name="Guest User" userId="" providerId="Windows Live" clId="Web-{73CA6875-5FA4-4BAF-BDBE-F5197642BB80}" dt="2021-11-18T22:01:36.432" v="75"/>
          <ac:spMkLst>
            <pc:docMk/>
            <pc:sldMk cId="4258770525" sldId="320"/>
            <ac:spMk id="10" creationId="{52AAD8CE-2EF3-44A1-AE3C-95A359249404}"/>
          </ac:spMkLst>
        </pc:spChg>
        <pc:picChg chg="add del mod ord">
          <ac:chgData name="Guest User" userId="" providerId="Windows Live" clId="Web-{73CA6875-5FA4-4BAF-BDBE-F5197642BB80}" dt="2021-11-18T22:01:29.401" v="71"/>
          <ac:picMkLst>
            <pc:docMk/>
            <pc:sldMk cId="4258770525" sldId="320"/>
            <ac:picMk id="5" creationId="{469CDFE0-376A-40CD-AA78-651A894344CC}"/>
          </ac:picMkLst>
        </pc:picChg>
        <pc:picChg chg="add del mod">
          <ac:chgData name="Guest User" userId="" providerId="Windows Live" clId="Web-{73CA6875-5FA4-4BAF-BDBE-F5197642BB80}" dt="2021-11-18T22:01:30.682" v="72"/>
          <ac:picMkLst>
            <pc:docMk/>
            <pc:sldMk cId="4258770525" sldId="320"/>
            <ac:picMk id="6" creationId="{85392E8E-A2DF-4C20-BA7D-C3B05C6B512B}"/>
          </ac:picMkLst>
        </pc:picChg>
        <pc:picChg chg="add mod">
          <ac:chgData name="Guest User" userId="" providerId="Windows Live" clId="Web-{73CA6875-5FA4-4BAF-BDBE-F5197642BB80}" dt="2021-11-18T22:01:42.166" v="77" actId="1076"/>
          <ac:picMkLst>
            <pc:docMk/>
            <pc:sldMk cId="4258770525" sldId="320"/>
            <ac:picMk id="7" creationId="{A4B416A3-DD2E-415E-82EB-746E787AE7E9}"/>
          </ac:picMkLst>
        </pc:picChg>
        <pc:picChg chg="add mod">
          <ac:chgData name="Guest User" userId="" providerId="Windows Live" clId="Web-{73CA6875-5FA4-4BAF-BDBE-F5197642BB80}" dt="2021-11-18T22:01:54.901" v="80" actId="14100"/>
          <ac:picMkLst>
            <pc:docMk/>
            <pc:sldMk cId="4258770525" sldId="320"/>
            <ac:picMk id="8" creationId="{B90D50A1-66BD-4DAA-BE7B-C23F0B20F9E9}"/>
          </ac:picMkLst>
        </pc:picChg>
      </pc:sldChg>
      <pc:sldChg chg="addSp modSp">
        <pc:chgData name="Guest User" userId="" providerId="Windows Live" clId="Web-{73CA6875-5FA4-4BAF-BDBE-F5197642BB80}" dt="2021-11-18T21:50:46.708" v="46" actId="1076"/>
        <pc:sldMkLst>
          <pc:docMk/>
          <pc:sldMk cId="1503024148" sldId="321"/>
        </pc:sldMkLst>
        <pc:picChg chg="add mod">
          <ac:chgData name="Guest User" userId="" providerId="Windows Live" clId="Web-{73CA6875-5FA4-4BAF-BDBE-F5197642BB80}" dt="2021-11-18T21:50:46.708" v="46" actId="1076"/>
          <ac:picMkLst>
            <pc:docMk/>
            <pc:sldMk cId="1503024148" sldId="321"/>
            <ac:picMk id="2" creationId="{DD1520A0-818C-420A-A30B-015204B5B5CD}"/>
          </ac:picMkLst>
        </pc:picChg>
      </pc:sldChg>
      <pc:sldChg chg="modSp">
        <pc:chgData name="Guest User" userId="" providerId="Windows Live" clId="Web-{73CA6875-5FA4-4BAF-BDBE-F5197642BB80}" dt="2021-11-18T22:02:42.807" v="82" actId="20577"/>
        <pc:sldMkLst>
          <pc:docMk/>
          <pc:sldMk cId="4093221303" sldId="322"/>
        </pc:sldMkLst>
        <pc:spChg chg="mod">
          <ac:chgData name="Guest User" userId="" providerId="Windows Live" clId="Web-{73CA6875-5FA4-4BAF-BDBE-F5197642BB80}" dt="2021-11-18T22:02:42.807" v="82" actId="20577"/>
          <ac:spMkLst>
            <pc:docMk/>
            <pc:sldMk cId="4093221303" sldId="322"/>
            <ac:spMk id="16" creationId="{97CCD77D-6E23-4F9C-83E5-E582C1BECC8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0F5B51-57AA-4E51-B5F8-E81DA0C82DF2}" type="datetimeFigureOut">
              <a:rPr lang="hu-HU" smtClean="0"/>
              <a:t>2021. 11. 19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7E23DA-A120-4559-A28C-143C1BFB66FF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77526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14D0276-F618-483C-82AB-5BF71C4FD2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BBD89B3-8ECB-4AC7-A949-C50576B96C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4A3ADDD6-A9D3-4029-A91B-F27595454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9EDFFC-6EC8-4EE7-B12D-CFB123E07F8F}" type="datetime1">
              <a:rPr lang="hu-HU" smtClean="0"/>
              <a:t>2021. 11. 19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F50B2E28-1753-46C2-B31B-54118D382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EBE9444-0515-4C78-9CAD-3F10F2F5A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05982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5DB4CCF0-EB1F-452C-A322-93369D05B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BCB4FE8C-3290-474F-ADF0-A52FEECEBF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06CD3118-7D08-457F-84A3-B2AB93A60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16736-1EE9-4C87-B7A6-D629D7C93F61}" type="datetime1">
              <a:rPr lang="hu-HU" smtClean="0"/>
              <a:t>2021. 11. 19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523C672-AB9A-442B-8B86-9B990DE84F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85600798-D711-4AA9-A584-0EACB2752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08868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id="{AF43F8D5-EE22-4FD1-8E2E-DED0605FE5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id="{1A14B5FC-4260-43D1-92AA-8E35DE3B9E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294A1621-A405-47BE-AF80-DC2CD8E2C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B63B03-6265-4CC5-B553-6BA20DCF6AA0}" type="datetime1">
              <a:rPr lang="hu-HU" smtClean="0"/>
              <a:t>2021. 11. 19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8EF96077-43A0-4C10-A6B1-F441CE301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62D9AF92-E249-498B-BAF2-1E2D507E4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75993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296B61F-B586-43C9-845D-176F12A89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3B3F11E8-3396-4B0C-BE19-C455C65D90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F3AE1CEA-FC19-40D4-B0AB-7A11EB5B0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CD0B0-2E36-4F28-B3E4-EC140EE41969}" type="datetime1">
              <a:rPr lang="hu-HU" smtClean="0"/>
              <a:t>2021. 11. 19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1BF0946-BF40-416A-8D5B-15AB6295B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B4DA5946-3D98-448E-94AE-57ED6F523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57152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900BD457-A1B6-4E40-9172-7101E2022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1BF0E841-E678-457D-BFA4-150133386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375EBACC-67EA-4F9C-972B-025676379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9110A9-BAE5-4F5D-ACE0-1EF369FCE3AB}" type="datetime1">
              <a:rPr lang="hu-HU" smtClean="0"/>
              <a:t>2021. 11. 19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68CC3AAE-7D09-4D92-B4D7-70BCCE978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7A4B1DE-441B-472A-87C3-F48433CA8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72834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D4CE841-E10D-454D-9A9D-2F0E52ACA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F081F851-67A7-4725-B2DF-270080CDEC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502020D9-DA40-405D-AF28-955B208BA3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BED71FA9-84F2-4A6E-95C4-8BFF5C006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52E7F5-A86C-469C-BB37-19EEF7F3F055}" type="datetime1">
              <a:rPr lang="hu-HU" smtClean="0"/>
              <a:t>2021. 11. 19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C52F4636-5FFE-4DB6-98BB-9162702E5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77300FA1-0B70-4BE6-8A62-5440CAF12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387855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E53209A6-2B0F-4534-8631-ECB17A923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20A77A4F-A954-48D5-8318-5B7EA4C7E7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8884909E-6148-4BA5-A54F-9198252890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BDD88E2B-A13B-451E-8014-362D37DA93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id="{15BD0C6D-4E98-4CC1-A97A-59E78A3CFE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id="{98518966-1B30-48BF-A09B-62AC0CDD12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8533B-95AB-4432-BC1D-7E5B3814A89A}" type="datetime1">
              <a:rPr lang="hu-HU" smtClean="0"/>
              <a:t>2021. 11. 19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id="{7835FE3D-6990-4DF8-8A28-DC8080768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id="{AB02E484-2454-46B3-9406-8E5ACD919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96744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25EC33C-0C2C-4BF9-84A8-E83D3DAC0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75C2945D-DA74-4B00-868E-430EF1C18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3F32F-E7A9-42D7-BB5F-8DC21A58716E}" type="datetime1">
              <a:rPr lang="hu-HU" smtClean="0"/>
              <a:t>2021. 11. 19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D058AF18-92BB-495A-964C-881BE02F8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156E99EC-0D33-4497-9F3B-307F3E4481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6779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id="{EBE6B7BE-62E6-42E5-9CCE-405E89049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7FEB4-3BE2-4B31-A022-C4AEE6554A0A}" type="datetime1">
              <a:rPr lang="hu-HU" smtClean="0"/>
              <a:t>2021. 11. 19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id="{8C688E8A-8921-48DE-8345-C353A0A02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C187386-43BB-42BC-B1C8-3B291B097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857374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D5333E6-3C24-47E6-A220-3ABF603C0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D611A5DF-59B4-46C2-BD69-C3A2CFCA0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9596D635-2D33-409F-9411-B38CB3AE082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3C52C3C9-2937-4778-BEDC-12FB551E1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850B10-AE02-4446-9B36-34722C0A5850}" type="datetime1">
              <a:rPr lang="hu-HU" smtClean="0"/>
              <a:t>2021. 11. 19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8CD79C87-108B-417D-AB84-5E785DEB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139BC460-AF8F-4916-897C-DAC8E0609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768908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DB9BA6EC-CEF4-413D-82DD-299AD7E7A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BF1B00EA-BAD1-4C6C-9BBE-1B0EDA12F5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id="{F87FA850-9210-4D81-8CBE-C966D43A1E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id="{9BF420EB-457E-43DA-A0D3-D024F2834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A3232-41D1-472F-8D11-CB92A245A77A}" type="datetime1">
              <a:rPr lang="hu-HU" smtClean="0"/>
              <a:t>2021. 11. 19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id="{FBAE7535-C99C-4A60-AB9D-47D9948FC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9E9D3F6F-8264-4377-AAF6-397567519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28655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3FD7652-14DD-4FA0-A9E8-5BDEB67F1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37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6" imgW="592" imgH="591" progId="TCLayout.ActiveDocument.1">
                  <p:embed/>
                </p:oleObj>
              </mc:Choice>
              <mc:Fallback>
                <p:oleObj name="think-cell Folie" r:id="rId16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3FD7652-14DD-4FA0-A9E8-5BDEB67F1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D3A6CAC-EDBC-4320-B9C5-3A40BA5D2F27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hu-HU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Cím helye 1">
            <a:extLst>
              <a:ext uri="{FF2B5EF4-FFF2-40B4-BE49-F238E27FC236}">
                <a16:creationId xmlns:a16="http://schemas.microsoft.com/office/drawing/2014/main" id="{C5EBB557-B863-4401-9378-FD21D3D58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id="{8516F26D-232B-4A13-8567-F7364CBC81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480AF6A9-519B-416F-A0F5-E3DB152A3D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AF7D7-12CD-4CDD-BC76-4DBFCC94E542}" type="datetime1">
              <a:rPr lang="hu-HU" smtClean="0"/>
              <a:t>2021. 11. 19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532B51D3-AB99-4B93-A1DF-3D9E09B33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725570B8-5B5B-40FD-A48F-7B3AB1B58B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B80F07-1EBA-4ACA-BEE7-2E1B60A99608}" type="slidenum">
              <a:rPr lang="hu-HU" smtClean="0"/>
              <a:t>‹Nr.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0942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Programming languages for chemical information - On Physical Sciences">
            <a:extLst>
              <a:ext uri="{FF2B5EF4-FFF2-40B4-BE49-F238E27FC236}">
                <a16:creationId xmlns:a16="http://schemas.microsoft.com/office/drawing/2014/main" id="{459C65CD-63A1-454F-933D-506375230C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808"/>
          <a:stretch/>
        </p:blipFill>
        <p:spPr bwMode="auto">
          <a:xfrm>
            <a:off x="1029388" y="550499"/>
            <a:ext cx="4514896" cy="4460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bject 2">
            <a:extLst>
              <a:ext uri="{FF2B5EF4-FFF2-40B4-BE49-F238E27FC236}">
                <a16:creationId xmlns:a16="http://schemas.microsoft.com/office/drawing/2014/main" id="{65FD0AA0-3A28-45CF-A78E-ECAC5FA9C32B}"/>
              </a:ext>
            </a:extLst>
          </p:cNvPr>
          <p:cNvSpPr/>
          <p:nvPr/>
        </p:nvSpPr>
        <p:spPr>
          <a:xfrm>
            <a:off x="0" y="0"/>
            <a:ext cx="12192000" cy="221942"/>
          </a:xfrm>
          <a:custGeom>
            <a:avLst/>
            <a:gdLst/>
            <a:ahLst/>
            <a:cxnLst/>
            <a:rect l="l" t="t" r="r" b="b"/>
            <a:pathLst>
              <a:path w="9144000" h="137160">
                <a:moveTo>
                  <a:pt x="9144000" y="0"/>
                </a:moveTo>
                <a:lnTo>
                  <a:pt x="0" y="0"/>
                </a:lnTo>
                <a:lnTo>
                  <a:pt x="0" y="137159"/>
                </a:lnTo>
                <a:lnTo>
                  <a:pt x="9144000" y="137159"/>
                </a:lnTo>
                <a:lnTo>
                  <a:pt x="9144000" y="0"/>
                </a:lnTo>
                <a:close/>
              </a:path>
            </a:pathLst>
          </a:custGeom>
          <a:solidFill>
            <a:srgbClr val="404040"/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/>
          <p:nvPr/>
        </p:nvCxnSpPr>
        <p:spPr>
          <a:xfrm>
            <a:off x="1029390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ject 5">
            <a:extLst>
              <a:ext uri="{FF2B5EF4-FFF2-40B4-BE49-F238E27FC236}">
                <a16:creationId xmlns:a16="http://schemas.microsoft.com/office/drawing/2014/main" id="{6A3109CD-8967-4658-95D8-B6D5098E0678}"/>
              </a:ext>
            </a:extLst>
          </p:cNvPr>
          <p:cNvSpPr txBox="1"/>
          <p:nvPr/>
        </p:nvSpPr>
        <p:spPr>
          <a:xfrm>
            <a:off x="5544284" y="2057535"/>
            <a:ext cx="6949356" cy="1638910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34925" algn="ctr">
              <a:spcBef>
                <a:spcPts val="100"/>
              </a:spcBef>
            </a:pPr>
            <a:r>
              <a:rPr lang="hu-HU" sz="3600" b="1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3600" b="1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3600" b="1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ctr">
              <a:spcBef>
                <a:spcPts val="100"/>
              </a:spcBef>
            </a:pPr>
            <a:r>
              <a:rPr lang="hu-HU" sz="3400" cap="small">
                <a:solidFill>
                  <a:srgbClr val="1F487C"/>
                </a:solidFill>
                <a:cs typeface="Times New Roman"/>
              </a:rPr>
              <a:t>Sarah </a:t>
            </a:r>
            <a:r>
              <a:rPr lang="hu-HU" sz="3400" cap="small" err="1">
                <a:solidFill>
                  <a:srgbClr val="1F487C"/>
                </a:solidFill>
                <a:cs typeface="Times New Roman"/>
              </a:rPr>
              <a:t>Hashem</a:t>
            </a:r>
            <a:endParaRPr lang="de-AT" sz="3400" cap="small">
              <a:solidFill>
                <a:srgbClr val="1F487C"/>
              </a:solidFill>
              <a:cs typeface="Times New Roman"/>
            </a:endParaRPr>
          </a:p>
          <a:p>
            <a:pPr marL="34925" algn="ctr">
              <a:spcBef>
                <a:spcPts val="100"/>
              </a:spcBef>
            </a:pPr>
            <a:r>
              <a:rPr lang="hu-HU" sz="3400" cap="small">
                <a:solidFill>
                  <a:srgbClr val="1F487C"/>
                </a:solidFill>
                <a:cs typeface="Times New Roman"/>
              </a:rPr>
              <a:t>Letenyei Levente</a:t>
            </a:r>
          </a:p>
        </p:txBody>
      </p:sp>
      <p:sp>
        <p:nvSpPr>
          <p:cNvPr id="20" name="Romboid 19">
            <a:extLst>
              <a:ext uri="{FF2B5EF4-FFF2-40B4-BE49-F238E27FC236}">
                <a16:creationId xmlns:a16="http://schemas.microsoft.com/office/drawing/2014/main" id="{3D58F957-CEC4-4AA9-8524-3C82DCEF2539}"/>
              </a:ext>
            </a:extLst>
          </p:cNvPr>
          <p:cNvSpPr/>
          <p:nvPr/>
        </p:nvSpPr>
        <p:spPr>
          <a:xfrm rot="10800000">
            <a:off x="1029389" y="5061294"/>
            <a:ext cx="4149767" cy="1138238"/>
          </a:xfrm>
          <a:prstGeom prst="parallelogram">
            <a:avLst/>
          </a:prstGeom>
          <a:solidFill>
            <a:srgbClr val="1F4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omboid 21">
            <a:extLst>
              <a:ext uri="{FF2B5EF4-FFF2-40B4-BE49-F238E27FC236}">
                <a16:creationId xmlns:a16="http://schemas.microsoft.com/office/drawing/2014/main" id="{9B537714-522E-4850-A192-97700C424FA0}"/>
              </a:ext>
            </a:extLst>
          </p:cNvPr>
          <p:cNvSpPr/>
          <p:nvPr/>
        </p:nvSpPr>
        <p:spPr>
          <a:xfrm>
            <a:off x="4731989" y="239697"/>
            <a:ext cx="1364011" cy="5959833"/>
          </a:xfrm>
          <a:prstGeom prst="parallelogram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Téglalap 22">
            <a:extLst>
              <a:ext uri="{FF2B5EF4-FFF2-40B4-BE49-F238E27FC236}">
                <a16:creationId xmlns:a16="http://schemas.microsoft.com/office/drawing/2014/main" id="{A474A9CB-3EA6-4F67-A23F-6271C5D171BB}"/>
              </a:ext>
            </a:extLst>
          </p:cNvPr>
          <p:cNvSpPr/>
          <p:nvPr/>
        </p:nvSpPr>
        <p:spPr>
          <a:xfrm>
            <a:off x="1029388" y="5061294"/>
            <a:ext cx="772779" cy="1130954"/>
          </a:xfrm>
          <a:prstGeom prst="rect">
            <a:avLst/>
          </a:prstGeom>
          <a:solidFill>
            <a:srgbClr val="1F4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3F614A2F-6626-4F2D-B4CC-9CEC8A973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548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357"/>
    </mc:Choice>
    <mc:Fallback xmlns="">
      <p:transition spd="slow" advTm="1835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 err="1">
                <a:latin typeface="+mn-lt"/>
                <a:cs typeface="Times New Roman"/>
              </a:rPr>
              <a:t>Grundidee</a:t>
            </a:r>
            <a:endParaRPr lang="en-SK" sz="3300">
              <a:latin typeface="+mn-lt"/>
              <a:cs typeface="Times New Roman"/>
            </a:endParaRP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spc="-35" err="1">
                <a:solidFill>
                  <a:srgbClr val="FFFFFF"/>
                </a:solidFill>
                <a:cs typeface="Times New Roman"/>
              </a:rPr>
              <a:t>ToDO</a:t>
            </a:r>
            <a:r>
              <a:rPr lang="hu-HU" sz="2000" b="1" spc="-35">
                <a:solidFill>
                  <a:srgbClr val="FFFFFF"/>
                </a:solidFill>
                <a:cs typeface="Times New Roman"/>
              </a:rPr>
              <a:t> </a:t>
            </a:r>
            <a:r>
              <a:rPr lang="hu-HU" sz="2000" b="1" spc="-35" err="1">
                <a:solidFill>
                  <a:srgbClr val="FFFFFF"/>
                </a:solidFill>
                <a:cs typeface="Times New Roman"/>
              </a:rPr>
              <a:t>Reminder</a:t>
            </a:r>
            <a:endParaRPr lang="en-AU" sz="1400">
              <a:cs typeface="Times New Roman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F2D90FCB-7416-4BB8-BD06-713ADB1C72AE}"/>
              </a:ext>
            </a:extLst>
          </p:cNvPr>
          <p:cNvSpPr txBox="1"/>
          <p:nvPr/>
        </p:nvSpPr>
        <p:spPr>
          <a:xfrm>
            <a:off x="1048050" y="1422074"/>
            <a:ext cx="10167257" cy="220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e-AT" sz="2400"/>
              <a:t>Eingabe</a:t>
            </a:r>
            <a:r>
              <a:rPr lang="hu-HU" sz="2400"/>
              <a:t> </a:t>
            </a:r>
            <a:r>
              <a:rPr lang="hu-HU" sz="2400" err="1"/>
              <a:t>der</a:t>
            </a:r>
            <a:r>
              <a:rPr lang="hu-HU" sz="2400"/>
              <a:t> </a:t>
            </a:r>
            <a:r>
              <a:rPr lang="de-AT" sz="2400"/>
              <a:t>Tätigkeiten</a:t>
            </a:r>
            <a:r>
              <a:rPr lang="hu-HU" sz="2400"/>
              <a:t> in </a:t>
            </a:r>
            <a:r>
              <a:rPr lang="hu-HU" sz="2400" err="1"/>
              <a:t>das</a:t>
            </a:r>
            <a:r>
              <a:rPr lang="hu-HU" sz="2400"/>
              <a:t> </a:t>
            </a:r>
            <a:r>
              <a:rPr lang="de-AT" sz="2400"/>
              <a:t>Programm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Abgabedatum</a:t>
            </a:r>
            <a:r>
              <a:rPr lang="hu-HU" sz="2400"/>
              <a:t> </a:t>
            </a:r>
            <a:r>
              <a:rPr lang="hu-HU" sz="2400" err="1"/>
              <a:t>gleich</a:t>
            </a:r>
            <a:r>
              <a:rPr lang="hu-HU" sz="2400"/>
              <a:t> </a:t>
            </a:r>
            <a:r>
              <a:rPr lang="hu-HU" sz="2400" err="1"/>
              <a:t>heutiges</a:t>
            </a:r>
            <a:r>
              <a:rPr lang="hu-HU" sz="2400"/>
              <a:t> </a:t>
            </a:r>
            <a:r>
              <a:rPr lang="hu-HU" sz="2400" err="1"/>
              <a:t>Datum</a:t>
            </a:r>
            <a:endParaRPr lang="hu-HU" sz="240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Erinnerung</a:t>
            </a:r>
            <a:r>
              <a:rPr lang="hu-HU" sz="2400"/>
              <a:t> mit 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Outlook und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Whatsapp</a:t>
            </a:r>
            <a:endParaRPr lang="en-US" sz="2400" b="1" i="1">
              <a:solidFill>
                <a:srgbClr val="293B5C"/>
              </a:solidFill>
              <a:cs typeface="Times New Roman"/>
            </a:endParaRP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26F70656-BBE9-426E-B969-F77A42BB4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9397" y="4064587"/>
            <a:ext cx="1625276" cy="1511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To Do List Reminder Icon, Cartoon Style Stock Vector - Illustration of  importance, choosing: 191639464">
            <a:extLst>
              <a:ext uri="{FF2B5EF4-FFF2-40B4-BE49-F238E27FC236}">
                <a16:creationId xmlns:a16="http://schemas.microsoft.com/office/drawing/2014/main" id="{DC2A6966-845F-4481-B32A-FCABC83677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59031">
            <a:off x="9358449" y="1824865"/>
            <a:ext cx="1689778" cy="1784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C06D21A-BD7F-4D1F-BA5F-8D7424EA2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4780" y="3954023"/>
            <a:ext cx="1708443" cy="171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5F73DF91-CD17-4BF4-9607-E448ABC0F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2</a:t>
            </a:fld>
            <a:endParaRPr lang="hu-HU"/>
          </a:p>
        </p:txBody>
      </p:sp>
      <p:pic>
        <p:nvPicPr>
          <p:cNvPr id="14" name="Picture 2" descr="Icon&#10;&#10;Description automatically generated">
            <a:extLst>
              <a:ext uri="{FF2B5EF4-FFF2-40B4-BE49-F238E27FC236}">
                <a16:creationId xmlns:a16="http://schemas.microsoft.com/office/drawing/2014/main" id="{D857AAEB-71E6-43BC-88A4-4CB392312A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8050" y="3889622"/>
            <a:ext cx="1947600" cy="1901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202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 err="1">
                <a:latin typeface="+mn-lt"/>
                <a:cs typeface="Times New Roman"/>
              </a:rPr>
              <a:t>Erstellung</a:t>
            </a:r>
            <a:r>
              <a:rPr lang="hu-HU" sz="3300">
                <a:latin typeface="+mn-lt"/>
                <a:cs typeface="Times New Roman"/>
              </a:rPr>
              <a:t> Excel </a:t>
            </a:r>
            <a:r>
              <a:rPr lang="hu-HU" sz="3300" err="1">
                <a:latin typeface="+mn-lt"/>
                <a:cs typeface="Times New Roman"/>
              </a:rPr>
              <a:t>Tabelle</a:t>
            </a:r>
            <a:endParaRPr lang="en-SK" sz="3300">
              <a:latin typeface="+mn-lt"/>
              <a:cs typeface="Times New Roman"/>
            </a:endParaRP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 anchor="t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cap="small" spc="-35">
                <a:solidFill>
                  <a:srgbClr val="FFFFFF"/>
                </a:solidFill>
                <a:cs typeface="Times New Roman"/>
              </a:rPr>
              <a:t>Beschreibung</a:t>
            </a:r>
            <a:endParaRPr lang="en-AU" sz="1400" cap="small">
              <a:cs typeface="Times New Roman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7D3836EB-D7B8-4F82-9F52-F705E7798237}"/>
              </a:ext>
            </a:extLst>
          </p:cNvPr>
          <p:cNvSpPr txBox="1"/>
          <p:nvPr/>
        </p:nvSpPr>
        <p:spPr>
          <a:xfrm>
            <a:off x="1048050" y="1422075"/>
            <a:ext cx="10167257" cy="4420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Die</a:t>
            </a:r>
            <a:r>
              <a:rPr lang="hu-HU" sz="2400"/>
              <a:t> </a:t>
            </a:r>
            <a:r>
              <a:rPr lang="hu-HU" sz="2400" err="1"/>
              <a:t>Datei</a:t>
            </a:r>
            <a:r>
              <a:rPr lang="hu-HU" sz="2400"/>
              <a:t> </a:t>
            </a:r>
            <a:r>
              <a:rPr lang="hu-HU" sz="2400" err="1"/>
              <a:t>muss</a:t>
            </a:r>
            <a:r>
              <a:rPr lang="hu-HU" sz="2400"/>
              <a:t> 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ANSI</a:t>
            </a:r>
            <a:r>
              <a:rPr lang="hu-HU" sz="2400"/>
              <a:t> </a:t>
            </a:r>
            <a:r>
              <a:rPr lang="hu-HU" sz="2400" err="1"/>
              <a:t>gespeichert</a:t>
            </a:r>
            <a:r>
              <a:rPr lang="hu-HU" sz="2400"/>
              <a:t> </a:t>
            </a:r>
            <a:r>
              <a:rPr lang="hu-HU" sz="2400" err="1"/>
              <a:t>werden</a:t>
            </a:r>
            <a:endParaRPr lang="hu-HU" sz="240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/>
              <a:t>Excel </a:t>
            </a:r>
            <a:r>
              <a:rPr lang="hu-HU" sz="2400" err="1"/>
              <a:t>Datei</a:t>
            </a:r>
            <a:r>
              <a:rPr lang="hu-HU" sz="2400"/>
              <a:t> anlegen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Nutzerangaben</a:t>
            </a:r>
            <a:r>
              <a:rPr lang="hu-HU" sz="2400"/>
              <a:t> </a:t>
            </a:r>
            <a:r>
              <a:rPr lang="hu-HU" sz="2400" err="1"/>
              <a:t>erfordern</a:t>
            </a:r>
            <a:r>
              <a:rPr lang="hu-HU" sz="2400"/>
              <a:t>: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Todo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,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Datum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,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Matrikelnummer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und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Telefonnummer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Mithihilfe</a:t>
            </a:r>
            <a:r>
              <a:rPr lang="hu-HU" sz="2400"/>
              <a:t> von </a:t>
            </a:r>
            <a:r>
              <a:rPr lang="hu-HU" sz="2400" err="1"/>
              <a:t>While</a:t>
            </a:r>
            <a:r>
              <a:rPr lang="hu-HU" sz="2400"/>
              <a:t> </a:t>
            </a:r>
            <a:r>
              <a:rPr lang="hu-HU" sz="2400" err="1"/>
              <a:t>Loop</a:t>
            </a:r>
            <a:r>
              <a:rPr lang="hu-HU" sz="2400"/>
              <a:t> </a:t>
            </a:r>
            <a:r>
              <a:rPr lang="hu-HU" sz="2400" err="1"/>
              <a:t>mehrere</a:t>
            </a:r>
            <a:r>
              <a:rPr lang="hu-HU" sz="2400"/>
              <a:t> </a:t>
            </a:r>
            <a:r>
              <a:rPr lang="hu-HU" sz="2400" err="1"/>
              <a:t>Angaben</a:t>
            </a:r>
            <a:r>
              <a:rPr lang="hu-HU" sz="2400"/>
              <a:t> </a:t>
            </a:r>
            <a:r>
              <a:rPr lang="hu-HU" sz="2400" err="1"/>
              <a:t>möglich</a:t>
            </a:r>
            <a:endParaRPr lang="hu-HU" sz="240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Definierung</a:t>
            </a:r>
            <a:r>
              <a:rPr lang="hu-HU" sz="2400"/>
              <a:t> </a:t>
            </a:r>
            <a:r>
              <a:rPr lang="hu-HU" sz="2400" err="1"/>
              <a:t>Tabellentiteln</a:t>
            </a:r>
            <a:endParaRPr lang="en-US" sz="2400"/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825DCC53-98BC-4D46-A193-CF25E4076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3</a:t>
            </a:fld>
            <a:endParaRPr lang="hu-HU"/>
          </a:p>
        </p:txBody>
      </p:sp>
      <p:pic>
        <p:nvPicPr>
          <p:cNvPr id="3074" name="Picture 2" descr="Open Object Rexx">
            <a:extLst>
              <a:ext uri="{FF2B5EF4-FFF2-40B4-BE49-F238E27FC236}">
                <a16:creationId xmlns:a16="http://schemas.microsoft.com/office/drawing/2014/main" id="{F54C4AF4-686F-4876-AB11-8CBC69DC79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6812" y="1482427"/>
            <a:ext cx="1946411" cy="1271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con&#10;&#10;Description automatically generated">
            <a:extLst>
              <a:ext uri="{FF2B5EF4-FFF2-40B4-BE49-F238E27FC236}">
                <a16:creationId xmlns:a16="http://schemas.microsoft.com/office/drawing/2014/main" id="{22C0B8D3-4EB1-49EC-8BC0-164AB6AE9F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55623" y="3050890"/>
            <a:ext cx="1947600" cy="1901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968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 err="1">
                <a:latin typeface="+mn-lt"/>
                <a:cs typeface="Times New Roman"/>
              </a:rPr>
              <a:t>Erstellung</a:t>
            </a:r>
            <a:r>
              <a:rPr lang="hu-HU" sz="3300">
                <a:latin typeface="+mn-lt"/>
                <a:cs typeface="Times New Roman"/>
              </a:rPr>
              <a:t> Excel </a:t>
            </a:r>
            <a:r>
              <a:rPr lang="hu-HU" sz="3300" err="1">
                <a:latin typeface="+mn-lt"/>
                <a:cs typeface="Times New Roman"/>
              </a:rPr>
              <a:t>Tabelle</a:t>
            </a:r>
            <a:endParaRPr lang="en-SK" sz="3300">
              <a:latin typeface="+mn-lt"/>
              <a:cs typeface="Times New Roman"/>
            </a:endParaRP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cap="small" spc="-35" err="1">
                <a:solidFill>
                  <a:srgbClr val="FFFFFF"/>
                </a:solidFill>
                <a:cs typeface="Times New Roman"/>
              </a:rPr>
              <a:t>Code</a:t>
            </a:r>
            <a:endParaRPr lang="en-AU" sz="1400" cap="small">
              <a:cs typeface="Times New Roman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D4B9F223-1A37-4E4F-AC27-B1985B58D8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050" y="1485687"/>
            <a:ext cx="6544893" cy="4769703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8701BCB5-5DFF-466D-A08C-992892F242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71709" y="1529709"/>
            <a:ext cx="3031514" cy="4681658"/>
          </a:xfrm>
          <a:prstGeom prst="rect">
            <a:avLst/>
          </a:prstGeom>
        </p:spPr>
      </p:pic>
      <p:sp>
        <p:nvSpPr>
          <p:cNvPr id="11" name="Dia számának helye 10">
            <a:extLst>
              <a:ext uri="{FF2B5EF4-FFF2-40B4-BE49-F238E27FC236}">
                <a16:creationId xmlns:a16="http://schemas.microsoft.com/office/drawing/2014/main" id="{C56B32E4-ECCD-4A07-B404-9E4A3A2B6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30241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 err="1">
                <a:latin typeface="+mn-lt"/>
                <a:cs typeface="Times New Roman"/>
              </a:rPr>
              <a:t>Sendung</a:t>
            </a:r>
            <a:r>
              <a:rPr lang="hu-HU" sz="3300">
                <a:latin typeface="+mn-lt"/>
                <a:cs typeface="Times New Roman"/>
              </a:rPr>
              <a:t>: </a:t>
            </a:r>
            <a:r>
              <a:rPr lang="hu-HU" sz="3300" err="1">
                <a:latin typeface="+mn-lt"/>
                <a:cs typeface="Times New Roman"/>
              </a:rPr>
              <a:t>Erinnerung</a:t>
            </a:r>
            <a:r>
              <a:rPr lang="hu-HU" sz="3300">
                <a:latin typeface="+mn-lt"/>
                <a:cs typeface="Times New Roman"/>
              </a:rPr>
              <a:t> </a:t>
            </a:r>
            <a:endParaRPr lang="en-SK" sz="3300">
              <a:latin typeface="+mn-lt"/>
              <a:cs typeface="Times New Roman"/>
            </a:endParaRP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 anchor="t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cap="small" spc="-35">
                <a:solidFill>
                  <a:srgbClr val="FFFFFF"/>
                </a:solidFill>
                <a:cs typeface="Times New Roman"/>
              </a:rPr>
              <a:t>Beschreibung</a:t>
            </a:r>
            <a:endParaRPr lang="en-AU" sz="1400" cap="small">
              <a:cs typeface="Times New Roman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7D3836EB-D7B8-4F82-9F52-F705E7798237}"/>
              </a:ext>
            </a:extLst>
          </p:cNvPr>
          <p:cNvSpPr txBox="1"/>
          <p:nvPr/>
        </p:nvSpPr>
        <p:spPr>
          <a:xfrm>
            <a:off x="1048050" y="1422075"/>
            <a:ext cx="10167257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Nutzerangabe</a:t>
            </a:r>
            <a:r>
              <a:rPr lang="hu-HU" sz="2400"/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Datum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=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heutiges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Datum</a:t>
            </a:r>
            <a:endParaRPr lang="hu-HU" sz="2400" b="1" i="1">
              <a:solidFill>
                <a:srgbClr val="293B5C"/>
              </a:solidFill>
              <a:cs typeface="Times New Roman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Erinnerung</a:t>
            </a:r>
            <a:r>
              <a:rPr lang="hu-HU" sz="2400"/>
              <a:t> </a:t>
            </a:r>
            <a:r>
              <a:rPr lang="hu-HU" sz="2400" err="1"/>
              <a:t>durch</a:t>
            </a:r>
            <a:r>
              <a:rPr lang="hu-HU" sz="2400"/>
              <a:t> 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Outlook und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Whatsapp</a:t>
            </a:r>
            <a:endParaRPr lang="hu-HU" sz="2400" b="1" i="1">
              <a:solidFill>
                <a:srgbClr val="293B5C"/>
              </a:solidFill>
              <a:cs typeface="Times New Roman"/>
            </a:endParaRPr>
          </a:p>
        </p:txBody>
      </p:sp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825DCC53-98BC-4D46-A193-CF25E4076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5</a:t>
            </a:fld>
            <a:endParaRPr lang="hu-HU"/>
          </a:p>
        </p:txBody>
      </p:sp>
      <p:pic>
        <p:nvPicPr>
          <p:cNvPr id="11" name="Picture 7" descr="Text, table&#10;&#10;Description automatically generated">
            <a:extLst>
              <a:ext uri="{FF2B5EF4-FFF2-40B4-BE49-F238E27FC236}">
                <a16:creationId xmlns:a16="http://schemas.microsoft.com/office/drawing/2014/main" id="{14D45AD0-3946-4F7F-A3D0-5103A2758A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8050" y="3033434"/>
            <a:ext cx="2886461" cy="3128941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03F844CE-2DF7-4A75-91E7-C3BE0BF9609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67968" y="2841468"/>
            <a:ext cx="5701913" cy="339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221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42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>
                <a:latin typeface="+mn-lt"/>
                <a:cs typeface="Times New Roman"/>
              </a:rPr>
              <a:t>Outlook </a:t>
            </a: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 anchor="t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cap="small" spc="-35">
                <a:solidFill>
                  <a:srgbClr val="FFFFFF"/>
                </a:solidFill>
                <a:cs typeface="Times New Roman"/>
              </a:rPr>
              <a:t>CODE</a:t>
            </a: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pic>
        <p:nvPicPr>
          <p:cNvPr id="3" name="Picture 3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35B7258A-292C-4D5D-86B9-D38B7B2A6C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406750">
            <a:off x="9748432" y="4789646"/>
            <a:ext cx="1858580" cy="970520"/>
          </a:xfrm>
          <a:prstGeom prst="rect">
            <a:avLst/>
          </a:prstGeom>
        </p:spPr>
      </p:pic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1D8EE4B7-3CF9-4117-9123-F32AE4F64E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5623" y="1583094"/>
            <a:ext cx="1947600" cy="182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zövegdoboz 13">
            <a:extLst>
              <a:ext uri="{FF2B5EF4-FFF2-40B4-BE49-F238E27FC236}">
                <a16:creationId xmlns:a16="http://schemas.microsoft.com/office/drawing/2014/main" id="{B1B3F4F9-C2D1-41D4-8D37-6090C9C64CBC}"/>
              </a:ext>
            </a:extLst>
          </p:cNvPr>
          <p:cNvSpPr txBox="1"/>
          <p:nvPr/>
        </p:nvSpPr>
        <p:spPr>
          <a:xfrm>
            <a:off x="1012371" y="1389772"/>
            <a:ext cx="10167257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/>
              <a:t>E-Mail </a:t>
            </a:r>
            <a:r>
              <a:rPr lang="hu-HU" sz="2400" err="1"/>
              <a:t>Adresse</a:t>
            </a:r>
            <a:r>
              <a:rPr lang="hu-HU" sz="2400"/>
              <a:t> </a:t>
            </a:r>
            <a:r>
              <a:rPr lang="hu-HU" sz="2400" err="1"/>
              <a:t>bleibt</a:t>
            </a:r>
            <a:r>
              <a:rPr lang="hu-HU" sz="2400"/>
              <a:t> </a:t>
            </a:r>
            <a:r>
              <a:rPr lang="hu-HU" sz="2400" err="1"/>
              <a:t>gleich</a:t>
            </a:r>
            <a:endParaRPr lang="hu-HU" sz="2400" b="1" i="1">
              <a:solidFill>
                <a:srgbClr val="293B5C"/>
              </a:solidFill>
              <a:cs typeface="Times New Roman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ToDo</a:t>
            </a:r>
            <a:r>
              <a:rPr lang="hu-HU" sz="2400"/>
              <a:t> </a:t>
            </a:r>
            <a:r>
              <a:rPr lang="hu-HU" sz="2400" err="1"/>
              <a:t>Beschreibung</a:t>
            </a:r>
            <a:r>
              <a:rPr lang="hu-HU" sz="2400"/>
              <a:t> von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Routine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Investigation_Deadline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</a:p>
        </p:txBody>
      </p:sp>
      <p:pic>
        <p:nvPicPr>
          <p:cNvPr id="4" name="Grafik 3" descr="Ein Bild, das Text enthält.&#10;&#10;Automatisch generierte Beschreibung">
            <a:extLst>
              <a:ext uri="{FF2B5EF4-FFF2-40B4-BE49-F238E27FC236}">
                <a16:creationId xmlns:a16="http://schemas.microsoft.com/office/drawing/2014/main" id="{2BE637C5-80CF-476C-B494-9C3BC15F7D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70" y="3092792"/>
            <a:ext cx="7324107" cy="272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159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E1D3A8BE-EFF9-429C-BDFE-D7FB39313F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0762" y="2953229"/>
            <a:ext cx="8628276" cy="1856366"/>
          </a:xfrm>
          <a:prstGeom prst="rect">
            <a:avLst/>
          </a:prstGeom>
        </p:spPr>
      </p:pic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 err="1">
                <a:latin typeface="+mn-lt"/>
                <a:cs typeface="Times New Roman"/>
              </a:rPr>
              <a:t>Automatisierung</a:t>
            </a:r>
            <a:r>
              <a:rPr lang="hu-HU" sz="3300">
                <a:latin typeface="+mn-lt"/>
                <a:cs typeface="Times New Roman"/>
              </a:rPr>
              <a:t> </a:t>
            </a:r>
            <a:r>
              <a:rPr lang="hu-HU" sz="3300" err="1">
                <a:latin typeface="+mn-lt"/>
                <a:cs typeface="Times New Roman"/>
              </a:rPr>
              <a:t>Whatsapp</a:t>
            </a:r>
            <a:endParaRPr lang="en-SK" sz="3300">
              <a:latin typeface="+mn-lt"/>
              <a:cs typeface="Times New Roman"/>
            </a:endParaRP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spc="-35" err="1">
                <a:solidFill>
                  <a:srgbClr val="FFFFFF"/>
                </a:solidFill>
                <a:cs typeface="Times New Roman"/>
              </a:rPr>
              <a:t>Implementierung</a:t>
            </a:r>
            <a:r>
              <a:rPr lang="hu-HU" sz="2000" b="1" spc="-35">
                <a:solidFill>
                  <a:srgbClr val="FFFFFF"/>
                </a:solidFill>
                <a:cs typeface="Times New Roman"/>
              </a:rPr>
              <a:t> von Python</a:t>
            </a:r>
            <a:endParaRPr lang="en-AU" sz="1400">
              <a:cs typeface="Times New Roman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F2D90FCB-7416-4BB8-BD06-713ADB1C72AE}"/>
              </a:ext>
            </a:extLst>
          </p:cNvPr>
          <p:cNvSpPr txBox="1"/>
          <p:nvPr/>
        </p:nvSpPr>
        <p:spPr>
          <a:xfrm>
            <a:off x="1048050" y="1422075"/>
            <a:ext cx="10167257" cy="1466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Voraussetzung</a:t>
            </a:r>
            <a:r>
              <a:rPr lang="hu-HU" sz="2400"/>
              <a:t>: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Anaconda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Umgebung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Verwendung</a:t>
            </a:r>
            <a:r>
              <a:rPr lang="hu-HU" sz="2400"/>
              <a:t>  </a:t>
            </a:r>
            <a:r>
              <a:rPr lang="hu-HU" sz="2400" err="1"/>
              <a:t>der</a:t>
            </a:r>
            <a:r>
              <a:rPr lang="hu-HU" sz="2400"/>
              <a:t> </a:t>
            </a:r>
            <a:r>
              <a:rPr lang="hu-HU" sz="2400" err="1"/>
              <a:t>Bibliothek</a:t>
            </a:r>
            <a:r>
              <a:rPr lang="hu-HU" sz="2400"/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pywhatkit</a:t>
            </a:r>
            <a:endParaRPr lang="en-US" sz="2400" b="1" i="1">
              <a:solidFill>
                <a:srgbClr val="293B5C"/>
              </a:solidFill>
              <a:cs typeface="Times New Roman"/>
            </a:endParaRPr>
          </a:p>
        </p:txBody>
      </p:sp>
      <p:sp>
        <p:nvSpPr>
          <p:cNvPr id="19" name="Jobbra nyíl 1">
            <a:extLst>
              <a:ext uri="{FF2B5EF4-FFF2-40B4-BE49-F238E27FC236}">
                <a16:creationId xmlns:a16="http://schemas.microsoft.com/office/drawing/2014/main" id="{5D59E287-5497-4213-8608-F53E3E479496}"/>
              </a:ext>
            </a:extLst>
          </p:cNvPr>
          <p:cNvSpPr/>
          <p:nvPr/>
        </p:nvSpPr>
        <p:spPr>
          <a:xfrm rot="16200000">
            <a:off x="3562793" y="4986477"/>
            <a:ext cx="900315" cy="31949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hu-HU" sz="2000" b="1" cap="small">
              <a:cs typeface="Times New Roman"/>
            </a:endParaRPr>
          </a:p>
        </p:txBody>
      </p:sp>
      <p:sp>
        <p:nvSpPr>
          <p:cNvPr id="20" name="Jobbra nyíl 1">
            <a:extLst>
              <a:ext uri="{FF2B5EF4-FFF2-40B4-BE49-F238E27FC236}">
                <a16:creationId xmlns:a16="http://schemas.microsoft.com/office/drawing/2014/main" id="{8B768C21-9434-4C60-85B2-836B490EF6E0}"/>
              </a:ext>
            </a:extLst>
          </p:cNvPr>
          <p:cNvSpPr/>
          <p:nvPr/>
        </p:nvSpPr>
        <p:spPr>
          <a:xfrm rot="16200000">
            <a:off x="7064560" y="4999344"/>
            <a:ext cx="900315" cy="31949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hu-HU" sz="2000" b="1" cap="small">
              <a:cs typeface="Times New Roman"/>
            </a:endParaRPr>
          </a:p>
        </p:txBody>
      </p:sp>
      <p:sp>
        <p:nvSpPr>
          <p:cNvPr id="22" name="Jobbra nyíl 1">
            <a:extLst>
              <a:ext uri="{FF2B5EF4-FFF2-40B4-BE49-F238E27FC236}">
                <a16:creationId xmlns:a16="http://schemas.microsoft.com/office/drawing/2014/main" id="{F35463A2-B1DE-4546-A698-4EBFDA0F3047}"/>
              </a:ext>
            </a:extLst>
          </p:cNvPr>
          <p:cNvSpPr/>
          <p:nvPr/>
        </p:nvSpPr>
        <p:spPr>
          <a:xfrm rot="16200000">
            <a:off x="8601545" y="4995471"/>
            <a:ext cx="900315" cy="319492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endParaRPr lang="hu-HU" sz="2000" b="1" cap="small">
              <a:cs typeface="Times New Roman"/>
            </a:endParaRPr>
          </a:p>
        </p:txBody>
      </p:sp>
      <p:sp>
        <p:nvSpPr>
          <p:cNvPr id="24" name="Rechteck 10">
            <a:extLst>
              <a:ext uri="{FF2B5EF4-FFF2-40B4-BE49-F238E27FC236}">
                <a16:creationId xmlns:a16="http://schemas.microsoft.com/office/drawing/2014/main" id="{2F062B44-4177-4E23-848A-D6B2AF88AB29}"/>
              </a:ext>
            </a:extLst>
          </p:cNvPr>
          <p:cNvSpPr/>
          <p:nvPr/>
        </p:nvSpPr>
        <p:spPr>
          <a:xfrm>
            <a:off x="3348617" y="5789097"/>
            <a:ext cx="132866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hu-HU" sz="1600" err="1">
                <a:solidFill>
                  <a:schemeClr val="tx1"/>
                </a:solidFill>
                <a:cs typeface="Calibri" panose="020F0502020204030204"/>
              </a:rPr>
              <a:t>Die</a:t>
            </a:r>
            <a:r>
              <a:rPr lang="hu-HU" sz="1600">
                <a:solidFill>
                  <a:schemeClr val="tx1"/>
                </a:solidFill>
                <a:cs typeface="Calibri" panose="020F0502020204030204"/>
              </a:rPr>
              <a:t> </a:t>
            </a:r>
            <a:r>
              <a:rPr lang="hu-HU" sz="1600" err="1">
                <a:solidFill>
                  <a:schemeClr val="tx1"/>
                </a:solidFill>
                <a:cs typeface="Calibri" panose="020F0502020204030204"/>
              </a:rPr>
              <a:t>Nummer</a:t>
            </a:r>
            <a:endParaRPr lang="de-AT" sz="1600" i="1">
              <a:solidFill>
                <a:schemeClr val="tx1"/>
              </a:solidFill>
              <a:cs typeface="Calibri" panose="020F0502020204030204"/>
            </a:endParaRPr>
          </a:p>
        </p:txBody>
      </p:sp>
      <p:sp>
        <p:nvSpPr>
          <p:cNvPr id="25" name="Rechteck 10">
            <a:extLst>
              <a:ext uri="{FF2B5EF4-FFF2-40B4-BE49-F238E27FC236}">
                <a16:creationId xmlns:a16="http://schemas.microsoft.com/office/drawing/2014/main" id="{CF0E039D-4552-4866-9809-E90D9E308FE1}"/>
              </a:ext>
            </a:extLst>
          </p:cNvPr>
          <p:cNvSpPr/>
          <p:nvPr/>
        </p:nvSpPr>
        <p:spPr>
          <a:xfrm>
            <a:off x="8286369" y="5788310"/>
            <a:ext cx="1892416" cy="338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hu-HU" sz="1600" err="1">
                <a:solidFill>
                  <a:schemeClr val="tx1"/>
                </a:solidFill>
                <a:cs typeface="Calibri" panose="020F0502020204030204"/>
              </a:rPr>
              <a:t>Uhrzeit</a:t>
            </a:r>
            <a:r>
              <a:rPr lang="hu-HU" sz="1600">
                <a:solidFill>
                  <a:schemeClr val="tx1"/>
                </a:solidFill>
                <a:cs typeface="Calibri" panose="020F0502020204030204"/>
              </a:rPr>
              <a:t> </a:t>
            </a:r>
            <a:r>
              <a:rPr lang="hu-HU" sz="1600" err="1">
                <a:solidFill>
                  <a:schemeClr val="tx1"/>
                </a:solidFill>
                <a:cs typeface="Calibri" panose="020F0502020204030204"/>
              </a:rPr>
              <a:t>der</a:t>
            </a:r>
            <a:r>
              <a:rPr lang="hu-HU" sz="1600">
                <a:solidFill>
                  <a:schemeClr val="tx1"/>
                </a:solidFill>
                <a:cs typeface="Calibri" panose="020F0502020204030204"/>
              </a:rPr>
              <a:t> </a:t>
            </a:r>
            <a:r>
              <a:rPr lang="hu-HU" sz="1600" err="1">
                <a:solidFill>
                  <a:schemeClr val="tx1"/>
                </a:solidFill>
                <a:cs typeface="Calibri" panose="020F0502020204030204"/>
              </a:rPr>
              <a:t>Sendung</a:t>
            </a:r>
            <a:endParaRPr lang="de-AT" sz="1600">
              <a:solidFill>
                <a:schemeClr val="tx1"/>
              </a:solidFill>
              <a:cs typeface="Calibri" panose="020F0502020204030204"/>
            </a:endParaRPr>
          </a:p>
        </p:txBody>
      </p:sp>
      <p:sp>
        <p:nvSpPr>
          <p:cNvPr id="26" name="Rechteck 10">
            <a:extLst>
              <a:ext uri="{FF2B5EF4-FFF2-40B4-BE49-F238E27FC236}">
                <a16:creationId xmlns:a16="http://schemas.microsoft.com/office/drawing/2014/main" id="{CE1E660F-155F-44C4-99BA-24F06BAA8D1C}"/>
              </a:ext>
            </a:extLst>
          </p:cNvPr>
          <p:cNvSpPr/>
          <p:nvPr/>
        </p:nvSpPr>
        <p:spPr>
          <a:xfrm>
            <a:off x="6850384" y="5785051"/>
            <a:ext cx="1328667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hu-HU" sz="1600" err="1">
                <a:solidFill>
                  <a:schemeClr val="tx1"/>
                </a:solidFill>
                <a:cs typeface="Calibri" panose="020F0502020204030204"/>
              </a:rPr>
              <a:t>Nachrichttext</a:t>
            </a:r>
            <a:endParaRPr lang="de-AT" sz="1600" i="1">
              <a:solidFill>
                <a:schemeClr val="tx1"/>
              </a:solidFill>
              <a:cs typeface="Calibri" panose="020F0502020204030204"/>
            </a:endParaRPr>
          </a:p>
        </p:txBody>
      </p:sp>
      <p:pic>
        <p:nvPicPr>
          <p:cNvPr id="1028" name="Picture 4" descr="Anaconda (Python distribution) - Wikipedia">
            <a:extLst>
              <a:ext uri="{FF2B5EF4-FFF2-40B4-BE49-F238E27FC236}">
                <a16:creationId xmlns:a16="http://schemas.microsoft.com/office/drawing/2014/main" id="{0BE265AA-A19E-4AC1-AF13-BBD9F72674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2842" y="1623881"/>
            <a:ext cx="2020382" cy="1007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CC6265F3-92F7-4BA3-BB25-CB08C5E50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366195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7E7B38F1-9BFB-45E1-8CA9-2D59D8095A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7E7B38F1-9BFB-45E1-8CA9-2D59D8095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Egyenes összekötő 14">
            <a:extLst>
              <a:ext uri="{FF2B5EF4-FFF2-40B4-BE49-F238E27FC236}">
                <a16:creationId xmlns:a16="http://schemas.microsoft.com/office/drawing/2014/main" id="{5F597D2A-2993-46F5-AFC8-D7649106A632}"/>
              </a:ext>
            </a:extLst>
          </p:cNvPr>
          <p:cNvCxnSpPr>
            <a:cxnSpLocks/>
          </p:cNvCxnSpPr>
          <p:nvPr/>
        </p:nvCxnSpPr>
        <p:spPr>
          <a:xfrm>
            <a:off x="1048052" y="6307500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ject 6">
            <a:extLst>
              <a:ext uri="{FF2B5EF4-FFF2-40B4-BE49-F238E27FC236}">
                <a16:creationId xmlns:a16="http://schemas.microsoft.com/office/drawing/2014/main" id="{83DEE3F5-E503-4E30-83A6-F881CD7B45F0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048050" y="306212"/>
            <a:ext cx="6332464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l">
              <a:lnSpc>
                <a:spcPct val="100000"/>
              </a:lnSpc>
              <a:spcBef>
                <a:spcPts val="95"/>
              </a:spcBef>
            </a:pPr>
            <a:r>
              <a:rPr lang="hu-HU" sz="3300">
                <a:latin typeface="+mn-lt"/>
                <a:cs typeface="Times New Roman"/>
              </a:rPr>
              <a:t>Automatisierung Whatsapp</a:t>
            </a:r>
            <a:endParaRPr lang="en-SK" sz="3300">
              <a:latin typeface="+mn-lt"/>
              <a:cs typeface="Times New Roman"/>
            </a:endParaRPr>
          </a:p>
        </p:txBody>
      </p:sp>
      <p:cxnSp>
        <p:nvCxnSpPr>
          <p:cNvPr id="13" name="Egyenes összekötő 12">
            <a:extLst>
              <a:ext uri="{FF2B5EF4-FFF2-40B4-BE49-F238E27FC236}">
                <a16:creationId xmlns:a16="http://schemas.microsoft.com/office/drawing/2014/main" id="{09005760-19BE-4C8D-A028-6817B2A6A449}"/>
              </a:ext>
            </a:extLst>
          </p:cNvPr>
          <p:cNvCxnSpPr>
            <a:cxnSpLocks/>
          </p:cNvCxnSpPr>
          <p:nvPr/>
        </p:nvCxnSpPr>
        <p:spPr>
          <a:xfrm>
            <a:off x="1048051" y="945507"/>
            <a:ext cx="10755173" cy="0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9">
            <a:extLst>
              <a:ext uri="{FF2B5EF4-FFF2-40B4-BE49-F238E27FC236}">
                <a16:creationId xmlns:a16="http://schemas.microsoft.com/office/drawing/2014/main" id="{97CCD77D-6E23-4F9C-83E5-E582C1BECC8C}"/>
              </a:ext>
            </a:extLst>
          </p:cNvPr>
          <p:cNvSpPr txBox="1"/>
          <p:nvPr/>
        </p:nvSpPr>
        <p:spPr>
          <a:xfrm>
            <a:off x="1048050" y="1095024"/>
            <a:ext cx="10755173" cy="338554"/>
          </a:xfrm>
          <a:prstGeom prst="rect">
            <a:avLst/>
          </a:prstGeom>
          <a:solidFill>
            <a:srgbClr val="1F487C"/>
          </a:solidFill>
          <a:ln w="9525">
            <a:solidFill>
              <a:srgbClr val="497DBA"/>
            </a:solidFill>
          </a:ln>
        </p:spPr>
        <p:txBody>
          <a:bodyPr vert="horz" wrap="square" lIns="0" tIns="3048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40"/>
              </a:spcBef>
            </a:pPr>
            <a:r>
              <a:rPr lang="hu-HU" sz="2000" b="1" cap="small" spc="-35" err="1">
                <a:solidFill>
                  <a:srgbClr val="FFFFFF"/>
                </a:solidFill>
                <a:cs typeface="Times New Roman"/>
              </a:rPr>
              <a:t>Code</a:t>
            </a:r>
            <a:endParaRPr lang="en-AU" sz="1400" cap="small">
              <a:cs typeface="Times New Roman"/>
            </a:endParaRP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A0399ABC-8759-42EE-9EE6-4FAD98B67A53}"/>
              </a:ext>
            </a:extLst>
          </p:cNvPr>
          <p:cNvSpPr txBox="1"/>
          <p:nvPr/>
        </p:nvSpPr>
        <p:spPr>
          <a:xfrm>
            <a:off x="6892538" y="291103"/>
            <a:ext cx="4910685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4925" algn="r">
              <a:spcBef>
                <a:spcPts val="100"/>
              </a:spcBef>
            </a:pP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0156 - Business </a:t>
            </a:r>
            <a:r>
              <a:rPr lang="hu-HU" sz="2000" b="1" cap="small" spc="-10" err="1">
                <a:solidFill>
                  <a:srgbClr val="1F487C"/>
                </a:solidFill>
                <a:cs typeface="Times New Roman"/>
              </a:rPr>
              <a:t>Programming</a:t>
            </a:r>
            <a:r>
              <a:rPr lang="hu-HU" sz="2000" b="1" cap="small" spc="-10">
                <a:solidFill>
                  <a:srgbClr val="1F487C"/>
                </a:solidFill>
                <a:cs typeface="Times New Roman"/>
              </a:rPr>
              <a:t> 1</a:t>
            </a:r>
          </a:p>
          <a:p>
            <a:pPr marL="34925" algn="r">
              <a:spcBef>
                <a:spcPts val="65"/>
              </a:spcBef>
            </a:pPr>
            <a:r>
              <a:rPr lang="hu-HU" sz="1600" b="1" cap="small" spc="-45">
                <a:solidFill>
                  <a:srgbClr val="1F487C"/>
                </a:solidFill>
                <a:cs typeface="Times New Roman"/>
              </a:rPr>
              <a:t>Group Project</a:t>
            </a:r>
            <a:endParaRPr lang="en-SK" sz="1600" b="1" cap="small">
              <a:solidFill>
                <a:srgbClr val="1F487C"/>
              </a:solidFill>
              <a:cs typeface="Times New Roman"/>
            </a:endParaRPr>
          </a:p>
        </p:txBody>
      </p:sp>
      <p:sp>
        <p:nvSpPr>
          <p:cNvPr id="11" name="Dia számának helye 10">
            <a:extLst>
              <a:ext uri="{FF2B5EF4-FFF2-40B4-BE49-F238E27FC236}">
                <a16:creationId xmlns:a16="http://schemas.microsoft.com/office/drawing/2014/main" id="{C56B32E4-ECCD-4A07-B404-9E4A3A2B6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B80F07-1EBA-4ACA-BEE7-2E1B60A99608}" type="slidenum">
              <a:rPr lang="hu-HU" smtClean="0"/>
              <a:t>8</a:t>
            </a:fld>
            <a:endParaRPr lang="hu-HU"/>
          </a:p>
        </p:txBody>
      </p:sp>
      <p:sp>
        <p:nvSpPr>
          <p:cNvPr id="14" name="Szövegdoboz 13">
            <a:extLst>
              <a:ext uri="{FF2B5EF4-FFF2-40B4-BE49-F238E27FC236}">
                <a16:creationId xmlns:a16="http://schemas.microsoft.com/office/drawing/2014/main" id="{CA8C8218-6AE3-485F-A9F2-0282DF0B0B66}"/>
              </a:ext>
            </a:extLst>
          </p:cNvPr>
          <p:cNvSpPr txBox="1"/>
          <p:nvPr/>
        </p:nvSpPr>
        <p:spPr>
          <a:xfrm>
            <a:off x="1048050" y="1422075"/>
            <a:ext cx="10167257" cy="2204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Anaconda</a:t>
            </a:r>
            <a:r>
              <a:rPr lang="hu-HU" sz="2400"/>
              <a:t> Prompt -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pip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install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  <a:r>
              <a:rPr lang="hu-HU" sz="2400" b="1" i="1" err="1">
                <a:solidFill>
                  <a:srgbClr val="293B5C"/>
                </a:solidFill>
                <a:cs typeface="Times New Roman"/>
              </a:rPr>
              <a:t>pywhatkit</a:t>
            </a:r>
            <a:endParaRPr lang="hu-HU" sz="2400" b="1" i="1">
              <a:solidFill>
                <a:srgbClr val="293B5C"/>
              </a:solidFill>
              <a:cs typeface="Times New Roman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err="1"/>
              <a:t>Handy</a:t>
            </a:r>
            <a:r>
              <a:rPr lang="hu-HU" sz="2400"/>
              <a:t> mit </a:t>
            </a:r>
            <a:r>
              <a:rPr lang="hu-HU" sz="2400" err="1"/>
              <a:t>Whatsapp</a:t>
            </a:r>
            <a:r>
              <a:rPr lang="hu-HU" sz="2400"/>
              <a:t>-Website </a:t>
            </a:r>
            <a:r>
              <a:rPr lang="hu-HU" sz="2400" err="1"/>
              <a:t>verbinden</a:t>
            </a:r>
            <a:endParaRPr lang="hu-HU" sz="2400" b="1" i="1">
              <a:solidFill>
                <a:srgbClr val="293B5C"/>
              </a:solidFill>
              <a:cs typeface="Times New Roman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hu-HU" sz="2400" b="1" i="1">
                <a:solidFill>
                  <a:srgbClr val="293B5C"/>
                </a:solidFill>
                <a:cs typeface="Times New Roman"/>
              </a:rPr>
              <a:t>Internet </a:t>
            </a:r>
            <a:r>
              <a:rPr lang="hu-HU" sz="2400" err="1"/>
              <a:t>muss</a:t>
            </a:r>
            <a:r>
              <a:rPr lang="hu-HU" sz="2400" b="1" i="1">
                <a:solidFill>
                  <a:srgbClr val="293B5C"/>
                </a:solidFill>
                <a:cs typeface="Times New Roman"/>
              </a:rPr>
              <a:t> </a:t>
            </a:r>
            <a:r>
              <a:rPr lang="hu-HU" sz="2400" err="1"/>
              <a:t>eingeschaltet</a:t>
            </a:r>
            <a:r>
              <a:rPr lang="hu-HU" sz="2400"/>
              <a:t> </a:t>
            </a:r>
            <a:r>
              <a:rPr lang="hu-HU" sz="2400" err="1"/>
              <a:t>sein</a:t>
            </a:r>
            <a:endParaRPr lang="hu-HU" sz="2400"/>
          </a:p>
        </p:txBody>
      </p:sp>
      <p:pic>
        <p:nvPicPr>
          <p:cNvPr id="5124" name="Picture 4" descr="A Simple Guide to Add conda Command into Windows PATH Environment - Python  Tutorial">
            <a:extLst>
              <a:ext uri="{FF2B5EF4-FFF2-40B4-BE49-F238E27FC236}">
                <a16:creationId xmlns:a16="http://schemas.microsoft.com/office/drawing/2014/main" id="{8023B359-8CB0-4484-BBD2-B99B87736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10734">
            <a:off x="9642592" y="1698389"/>
            <a:ext cx="1920232" cy="1658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E3FAD281-0EE1-4DAB-93F1-DA2AEE187C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050" y="4597721"/>
            <a:ext cx="10288695" cy="1504479"/>
          </a:xfrm>
          <a:prstGeom prst="rect">
            <a:avLst/>
          </a:prstGeom>
        </p:spPr>
      </p:pic>
      <p:pic>
        <p:nvPicPr>
          <p:cNvPr id="5126" name="Picture 6" descr="WhatsApp Web Scan QR Code - WhatsApp Scanner - ProMazi">
            <a:extLst>
              <a:ext uri="{FF2B5EF4-FFF2-40B4-BE49-F238E27FC236}">
                <a16:creationId xmlns:a16="http://schemas.microsoft.com/office/drawing/2014/main" id="{972D5C3D-3DD8-47EE-A606-A0AB00D5AD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678" y="3066213"/>
            <a:ext cx="2862943" cy="1532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8040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HOWAGENDASLIDENUMBER" val="n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ZvXf95KFczjKAyIfCz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74558E0F6A20145B17D51663ECC6F8B" ma:contentTypeVersion="5" ma:contentTypeDescription="Ein neues Dokument erstellen." ma:contentTypeScope="" ma:versionID="5069d2df86c02cc22f271df3afad4007">
  <xsd:schema xmlns:xsd="http://www.w3.org/2001/XMLSchema" xmlns:xs="http://www.w3.org/2001/XMLSchema" xmlns:p="http://schemas.microsoft.com/office/2006/metadata/properties" xmlns:ns2="b7994ef6-a2b6-4997-879f-f1dab2c4e65f" targetNamespace="http://schemas.microsoft.com/office/2006/metadata/properties" ma:root="true" ma:fieldsID="53a85655be9f55a1d6c3b2fca531ca85" ns2:_="">
    <xsd:import namespace="b7994ef6-a2b6-4997-879f-f1dab2c4e6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994ef6-a2b6-4997-879f-f1dab2c4e6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FF32292-ADC2-42BD-B521-E0E0857AF30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829DA1-60B0-40E6-AD4F-B27920393843}">
  <ds:schemaRefs>
    <ds:schemaRef ds:uri="b7994ef6-a2b6-4997-879f-f1dab2c4e6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76CBE7A-00B2-4FCD-8DB9-EFDD10C66FA9}">
  <ds:schemaRefs>
    <ds:schemaRef ds:uri="b7994ef6-a2b6-4997-879f-f1dab2c4e65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2</Words>
  <Application>Microsoft Office PowerPoint</Application>
  <PresentationFormat>Breitbild</PresentationFormat>
  <Paragraphs>58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-téma</vt:lpstr>
      <vt:lpstr>think-cell Folie</vt:lpstr>
      <vt:lpstr>PowerPoint-Präsentation</vt:lpstr>
      <vt:lpstr>Grundidee</vt:lpstr>
      <vt:lpstr>Erstellung Excel Tabelle</vt:lpstr>
      <vt:lpstr>Erstellung Excel Tabelle</vt:lpstr>
      <vt:lpstr>Sendung: Erinnerung </vt:lpstr>
      <vt:lpstr>Outlook </vt:lpstr>
      <vt:lpstr>Automatisierung Whatsapp</vt:lpstr>
      <vt:lpstr>Automatisierung Whatsap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RORA CANNABIS</dc:title>
  <dc:creator>Levente Letenyei</dc:creator>
  <cp:lastModifiedBy>sara hashem</cp:lastModifiedBy>
  <cp:revision>2</cp:revision>
  <dcterms:created xsi:type="dcterms:W3CDTF">2020-03-10T17:01:30Z</dcterms:created>
  <dcterms:modified xsi:type="dcterms:W3CDTF">2021-11-19T12:3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4558E0F6A20145B17D51663ECC6F8B</vt:lpwstr>
  </property>
</Properties>
</file>